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Override3.xml" ContentType="application/vnd.openxmlformats-officedocument.themeOverride+xml"/>
  <Override PartName="/ppt/tags/tag3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32"/>
  </p:notesMasterIdLst>
  <p:sldIdLst>
    <p:sldId id="256" r:id="rId2"/>
    <p:sldId id="269" r:id="rId3"/>
    <p:sldId id="279" r:id="rId4"/>
    <p:sldId id="270" r:id="rId5"/>
    <p:sldId id="306" r:id="rId6"/>
    <p:sldId id="271" r:id="rId7"/>
    <p:sldId id="286" r:id="rId8"/>
    <p:sldId id="280" r:id="rId9"/>
    <p:sldId id="287" r:id="rId10"/>
    <p:sldId id="293" r:id="rId11"/>
    <p:sldId id="294" r:id="rId12"/>
    <p:sldId id="296" r:id="rId13"/>
    <p:sldId id="297" r:id="rId14"/>
    <p:sldId id="298" r:id="rId15"/>
    <p:sldId id="305" r:id="rId16"/>
    <p:sldId id="281" r:id="rId17"/>
    <p:sldId id="288" r:id="rId18"/>
    <p:sldId id="300" r:id="rId19"/>
    <p:sldId id="299" r:id="rId20"/>
    <p:sldId id="301" r:id="rId21"/>
    <p:sldId id="302" r:id="rId22"/>
    <p:sldId id="303" r:id="rId23"/>
    <p:sldId id="282" r:id="rId24"/>
    <p:sldId id="289" r:id="rId25"/>
    <p:sldId id="290" r:id="rId26"/>
    <p:sldId id="291" r:id="rId27"/>
    <p:sldId id="292" r:id="rId28"/>
    <p:sldId id="284" r:id="rId29"/>
    <p:sldId id="285" r:id="rId30"/>
    <p:sldId id="261" r:id="rId31"/>
  </p:sldIdLst>
  <p:sldSz cx="12192000" cy="6858000"/>
  <p:notesSz cx="6858000" cy="9144000"/>
  <p:custDataLst>
    <p:tags r:id="rId3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7D31"/>
    <a:srgbClr val="E24E0C"/>
    <a:srgbClr val="FAB534"/>
    <a:srgbClr val="FFDA93"/>
    <a:srgbClr val="A20000"/>
    <a:srgbClr val="A40000"/>
    <a:srgbClr val="9E0000"/>
    <a:srgbClr val="C7450B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7" autoAdjust="0"/>
    <p:restoredTop sz="96201" autoAdjust="0"/>
  </p:normalViewPr>
  <p:slideViewPr>
    <p:cSldViewPr snapToGrid="0">
      <p:cViewPr varScale="1">
        <p:scale>
          <a:sx n="69" d="100"/>
          <a:sy n="69" d="100"/>
        </p:scale>
        <p:origin x="780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12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2784116"/>
            <a:ext cx="10850563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634673"/>
            <a:ext cx="10850563" cy="1131206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680661" y="4049242"/>
            <a:ext cx="2829092" cy="296271"/>
          </a:xfrm>
          <a:solidFill>
            <a:schemeClr val="accent3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4559571"/>
            <a:ext cx="10850563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" name="矩形 1"/>
          <p:cNvSpPr/>
          <p:nvPr userDrawn="1"/>
        </p:nvSpPr>
        <p:spPr>
          <a:xfrm>
            <a:off x="670717" y="769257"/>
            <a:ext cx="10850563" cy="5368018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376512" y="2403021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377628" y="3298371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2/12/1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2/12/12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1999" cy="6858000"/>
          </a:xfrm>
          <a:prstGeom prst="rect">
            <a:avLst/>
          </a:prstGeom>
        </p:spPr>
      </p:pic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82962" y="1909091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2962" y="4215327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82963" y="3919056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2/12/12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Relationship Id="rId4" Type="http://schemas.openxmlformats.org/officeDocument/2006/relationships/image" Target="../media/image2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image" Target="../media/image26.jpeg"/><Relationship Id="rId7" Type="http://schemas.openxmlformats.org/officeDocument/2006/relationships/image" Target="../media/image30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10" Type="http://schemas.openxmlformats.org/officeDocument/2006/relationships/image" Target="../media/image33.jpeg"/><Relationship Id="rId4" Type="http://schemas.openxmlformats.org/officeDocument/2006/relationships/image" Target="../media/image27.jpeg"/><Relationship Id="rId9" Type="http://schemas.openxmlformats.org/officeDocument/2006/relationships/image" Target="../media/image32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1.xml"/><Relationship Id="rId1" Type="http://schemas.openxmlformats.org/officeDocument/2006/relationships/themeOverride" Target="../theme/themeOverride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9525" imgH="9525" progId="TCLayout.ActiveDocument.1">
                  <p:embed/>
                </p:oleObj>
              </mc:Choice>
              <mc:Fallback>
                <p:oleObj name="think-cell Slide" r:id="rId4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/>
              <a:t>Group 2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Image Super Resolution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sz="2000" dirty="0"/>
              <a:t>He Huang, </a:t>
            </a:r>
            <a:r>
              <a:rPr lang="en-US" altLang="zh-CN" sz="2000" dirty="0" err="1"/>
              <a:t>Yixi</a:t>
            </a:r>
            <a:r>
              <a:rPr lang="en-US" altLang="zh-CN" sz="2000" dirty="0"/>
              <a:t> Liang, </a:t>
            </a:r>
            <a:r>
              <a:rPr lang="en-US" altLang="zh-CN" sz="2000" dirty="0" err="1"/>
              <a:t>Ruiqi</a:t>
            </a:r>
            <a:r>
              <a:rPr lang="en-US" altLang="zh-CN" sz="2000" dirty="0"/>
              <a:t> Li</a:t>
            </a:r>
            <a:endParaRPr lang="en-US" altLang="en-US" sz="2000" dirty="0"/>
          </a:p>
        </p:txBody>
      </p:sp>
    </p:spTree>
    <p:custDataLst>
      <p:tags r:id="rId2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</a:t>
            </a:r>
            <a:r>
              <a:rPr lang="en-US" altLang="zh-CN" baseline="30000" dirty="0"/>
              <a:t>st</a:t>
            </a:r>
            <a:r>
              <a:rPr lang="en-US" altLang="zh-CN" dirty="0"/>
              <a:t> part: Extraction Representatio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FE3897B8-EEF2-EF09-58E8-6380F6E3742D}"/>
              </a:ext>
            </a:extLst>
          </p:cNvPr>
          <p:cNvGrpSpPr/>
          <p:nvPr/>
        </p:nvGrpSpPr>
        <p:grpSpPr>
          <a:xfrm>
            <a:off x="8358909" y="5477164"/>
            <a:ext cx="3719729" cy="1298762"/>
            <a:chOff x="2772569" y="2151697"/>
            <a:chExt cx="6719888" cy="2554605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288EEB7A-6D63-F12F-3CCD-8F869232CFED}"/>
                </a:ext>
              </a:extLst>
            </p:cNvPr>
            <p:cNvGrpSpPr/>
            <p:nvPr/>
          </p:nvGrpSpPr>
          <p:grpSpPr>
            <a:xfrm>
              <a:off x="7873207" y="2151697"/>
              <a:ext cx="1093469" cy="2553652"/>
              <a:chOff x="7838122" y="219075"/>
              <a:chExt cx="1093469" cy="2553652"/>
            </a:xfrm>
          </p:grpSpPr>
          <p:sp>
            <p:nvSpPr>
              <p:cNvPr id="79" name="任意多边形 157">
                <a:extLst>
                  <a:ext uri="{FF2B5EF4-FFF2-40B4-BE49-F238E27FC236}">
                    <a16:creationId xmlns:a16="http://schemas.microsoft.com/office/drawing/2014/main" id="{2213DB1D-7987-2518-5F24-BC1269ED5332}"/>
                  </a:ext>
                </a:extLst>
              </p:cNvPr>
              <p:cNvSpPr/>
              <p:nvPr/>
            </p:nvSpPr>
            <p:spPr>
              <a:xfrm>
                <a:off x="8309609" y="280987"/>
                <a:ext cx="151447" cy="2491740"/>
              </a:xfrm>
              <a:custGeom>
                <a:avLst/>
                <a:gdLst>
                  <a:gd name="connsiteX0" fmla="*/ 151447 w 151447"/>
                  <a:gd name="connsiteY0" fmla="*/ 2491740 h 2491740"/>
                  <a:gd name="connsiteX1" fmla="*/ 0 w 151447"/>
                  <a:gd name="connsiteY1" fmla="*/ 2491740 h 2491740"/>
                  <a:gd name="connsiteX2" fmla="*/ 52388 w 151447"/>
                  <a:gd name="connsiteY2" fmla="*/ 0 h 2491740"/>
                  <a:gd name="connsiteX3" fmla="*/ 99060 w 151447"/>
                  <a:gd name="connsiteY3" fmla="*/ 0 h 249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1447" h="2491740">
                    <a:moveTo>
                      <a:pt x="151447" y="2491740"/>
                    </a:moveTo>
                    <a:lnTo>
                      <a:pt x="0" y="2491740"/>
                    </a:lnTo>
                    <a:lnTo>
                      <a:pt x="52388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80" name="组合 79">
                <a:extLst>
                  <a:ext uri="{FF2B5EF4-FFF2-40B4-BE49-F238E27FC236}">
                    <a16:creationId xmlns:a16="http://schemas.microsoft.com/office/drawing/2014/main" id="{CE8422B4-726A-DB9F-07F1-52E3B10F3199}"/>
                  </a:ext>
                </a:extLst>
              </p:cNvPr>
              <p:cNvGrpSpPr/>
              <p:nvPr/>
            </p:nvGrpSpPr>
            <p:grpSpPr>
              <a:xfrm>
                <a:off x="7838122" y="219075"/>
                <a:ext cx="1093469" cy="1788795"/>
                <a:chOff x="7838122" y="219075"/>
                <a:chExt cx="1093469" cy="1788795"/>
              </a:xfrm>
            </p:grpSpPr>
            <p:sp>
              <p:nvSpPr>
                <p:cNvPr id="81" name="任意多边形 159">
                  <a:extLst>
                    <a:ext uri="{FF2B5EF4-FFF2-40B4-BE49-F238E27FC236}">
                      <a16:creationId xmlns:a16="http://schemas.microsoft.com/office/drawing/2014/main" id="{0A2A7881-9992-9D31-1E8B-BB6DD3AAA61E}"/>
                    </a:ext>
                  </a:extLst>
                </p:cNvPr>
                <p:cNvSpPr/>
                <p:nvPr/>
              </p:nvSpPr>
              <p:spPr>
                <a:xfrm>
                  <a:off x="7838122" y="1418272"/>
                  <a:ext cx="1093469" cy="589597"/>
                </a:xfrm>
                <a:custGeom>
                  <a:avLst/>
                  <a:gdLst>
                    <a:gd name="connsiteX0" fmla="*/ 542925 w 1093469"/>
                    <a:gd name="connsiteY0" fmla="*/ 0 h 589597"/>
                    <a:gd name="connsiteX1" fmla="*/ 0 w 1093469"/>
                    <a:gd name="connsiteY1" fmla="*/ 589598 h 589597"/>
                    <a:gd name="connsiteX2" fmla="*/ 546735 w 1093469"/>
                    <a:gd name="connsiteY2" fmla="*/ 589598 h 589597"/>
                    <a:gd name="connsiteX3" fmla="*/ 1093470 w 1093469"/>
                    <a:gd name="connsiteY3" fmla="*/ 589598 h 589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93469" h="589597">
                      <a:moveTo>
                        <a:pt x="542925" y="0"/>
                      </a:moveTo>
                      <a:lnTo>
                        <a:pt x="0" y="589598"/>
                      </a:lnTo>
                      <a:lnTo>
                        <a:pt x="546735" y="589598"/>
                      </a:lnTo>
                      <a:lnTo>
                        <a:pt x="1093470" y="589598"/>
                      </a:ln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2" name="任意多边形 160">
                  <a:extLst>
                    <a:ext uri="{FF2B5EF4-FFF2-40B4-BE49-F238E27FC236}">
                      <a16:creationId xmlns:a16="http://schemas.microsoft.com/office/drawing/2014/main" id="{F8F9F474-39FD-549B-8463-BF4B90EECB34}"/>
                    </a:ext>
                  </a:extLst>
                </p:cNvPr>
                <p:cNvSpPr/>
                <p:nvPr/>
              </p:nvSpPr>
              <p:spPr>
                <a:xfrm>
                  <a:off x="7892414" y="1091564"/>
                  <a:ext cx="979170" cy="480060"/>
                </a:xfrm>
                <a:custGeom>
                  <a:avLst/>
                  <a:gdLst>
                    <a:gd name="connsiteX0" fmla="*/ 486728 w 979170"/>
                    <a:gd name="connsiteY0" fmla="*/ 0 h 480060"/>
                    <a:gd name="connsiteX1" fmla="*/ 0 w 979170"/>
                    <a:gd name="connsiteY1" fmla="*/ 480060 h 480060"/>
                    <a:gd name="connsiteX2" fmla="*/ 489585 w 979170"/>
                    <a:gd name="connsiteY2" fmla="*/ 480060 h 480060"/>
                    <a:gd name="connsiteX3" fmla="*/ 979170 w 979170"/>
                    <a:gd name="connsiteY3" fmla="*/ 480060 h 4800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9170" h="480060">
                      <a:moveTo>
                        <a:pt x="486728" y="0"/>
                      </a:moveTo>
                      <a:lnTo>
                        <a:pt x="0" y="480060"/>
                      </a:lnTo>
                      <a:lnTo>
                        <a:pt x="489585" y="480060"/>
                      </a:lnTo>
                      <a:lnTo>
                        <a:pt x="979170" y="480060"/>
                      </a:ln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3" name="任意多边形 161">
                  <a:extLst>
                    <a:ext uri="{FF2B5EF4-FFF2-40B4-BE49-F238E27FC236}">
                      <a16:creationId xmlns:a16="http://schemas.microsoft.com/office/drawing/2014/main" id="{B4C3880F-53E7-C432-510D-7B042445B7E9}"/>
                    </a:ext>
                  </a:extLst>
                </p:cNvPr>
                <p:cNvSpPr/>
                <p:nvPr/>
              </p:nvSpPr>
              <p:spPr>
                <a:xfrm>
                  <a:off x="7937181" y="819150"/>
                  <a:ext cx="886777" cy="398145"/>
                </a:xfrm>
                <a:custGeom>
                  <a:avLst/>
                  <a:gdLst>
                    <a:gd name="connsiteX0" fmla="*/ 441007 w 886777"/>
                    <a:gd name="connsiteY0" fmla="*/ 0 h 398145"/>
                    <a:gd name="connsiteX1" fmla="*/ 0 w 886777"/>
                    <a:gd name="connsiteY1" fmla="*/ 398145 h 398145"/>
                    <a:gd name="connsiteX2" fmla="*/ 442913 w 886777"/>
                    <a:gd name="connsiteY2" fmla="*/ 398145 h 398145"/>
                    <a:gd name="connsiteX3" fmla="*/ 886778 w 886777"/>
                    <a:gd name="connsiteY3" fmla="*/ 398145 h 3981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86777" h="398145">
                      <a:moveTo>
                        <a:pt x="441007" y="0"/>
                      </a:moveTo>
                      <a:lnTo>
                        <a:pt x="0" y="398145"/>
                      </a:lnTo>
                      <a:lnTo>
                        <a:pt x="442913" y="398145"/>
                      </a:lnTo>
                      <a:lnTo>
                        <a:pt x="886778" y="398145"/>
                      </a:ln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4" name="任意多边形 162">
                  <a:extLst>
                    <a:ext uri="{FF2B5EF4-FFF2-40B4-BE49-F238E27FC236}">
                      <a16:creationId xmlns:a16="http://schemas.microsoft.com/office/drawing/2014/main" id="{18997019-715B-82F9-E48A-9B698523B9F4}"/>
                    </a:ext>
                  </a:extLst>
                </p:cNvPr>
                <p:cNvSpPr/>
                <p:nvPr/>
              </p:nvSpPr>
              <p:spPr>
                <a:xfrm>
                  <a:off x="7973376" y="587692"/>
                  <a:ext cx="809625" cy="336232"/>
                </a:xfrm>
                <a:custGeom>
                  <a:avLst/>
                  <a:gdLst>
                    <a:gd name="connsiteX0" fmla="*/ 402908 w 809625"/>
                    <a:gd name="connsiteY0" fmla="*/ 0 h 336232"/>
                    <a:gd name="connsiteX1" fmla="*/ 0 w 809625"/>
                    <a:gd name="connsiteY1" fmla="*/ 336233 h 336232"/>
                    <a:gd name="connsiteX2" fmla="*/ 404813 w 809625"/>
                    <a:gd name="connsiteY2" fmla="*/ 336233 h 336232"/>
                    <a:gd name="connsiteX3" fmla="*/ 809625 w 809625"/>
                    <a:gd name="connsiteY3" fmla="*/ 336233 h 336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9625" h="336232">
                      <a:moveTo>
                        <a:pt x="402908" y="0"/>
                      </a:moveTo>
                      <a:lnTo>
                        <a:pt x="0" y="336233"/>
                      </a:lnTo>
                      <a:lnTo>
                        <a:pt x="404813" y="336233"/>
                      </a:lnTo>
                      <a:lnTo>
                        <a:pt x="809625" y="336233"/>
                      </a:lnTo>
                      <a:close/>
                    </a:path>
                  </a:pathLst>
                </a:custGeom>
                <a:solidFill>
                  <a:srgbClr val="45BC5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5" name="任意多边形 163">
                  <a:extLst>
                    <a:ext uri="{FF2B5EF4-FFF2-40B4-BE49-F238E27FC236}">
                      <a16:creationId xmlns:a16="http://schemas.microsoft.com/office/drawing/2014/main" id="{217A25B9-5B7F-7AFC-8782-B70DFEE4F8E1}"/>
                    </a:ext>
                  </a:extLst>
                </p:cNvPr>
                <p:cNvSpPr/>
                <p:nvPr/>
              </p:nvSpPr>
              <p:spPr>
                <a:xfrm>
                  <a:off x="8003856" y="390525"/>
                  <a:ext cx="745807" cy="286702"/>
                </a:xfrm>
                <a:custGeom>
                  <a:avLst/>
                  <a:gdLst>
                    <a:gd name="connsiteX0" fmla="*/ 371475 w 745807"/>
                    <a:gd name="connsiteY0" fmla="*/ 0 h 286702"/>
                    <a:gd name="connsiteX1" fmla="*/ 0 w 745807"/>
                    <a:gd name="connsiteY1" fmla="*/ 286703 h 286702"/>
                    <a:gd name="connsiteX2" fmla="*/ 373380 w 745807"/>
                    <a:gd name="connsiteY2" fmla="*/ 286703 h 286702"/>
                    <a:gd name="connsiteX3" fmla="*/ 745807 w 745807"/>
                    <a:gd name="connsiteY3" fmla="*/ 286703 h 286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5807" h="286702">
                      <a:moveTo>
                        <a:pt x="371475" y="0"/>
                      </a:moveTo>
                      <a:lnTo>
                        <a:pt x="0" y="286703"/>
                      </a:lnTo>
                      <a:lnTo>
                        <a:pt x="373380" y="286703"/>
                      </a:lnTo>
                      <a:lnTo>
                        <a:pt x="745807" y="286703"/>
                      </a:ln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6" name="任意多边形 164">
                  <a:extLst>
                    <a:ext uri="{FF2B5EF4-FFF2-40B4-BE49-F238E27FC236}">
                      <a16:creationId xmlns:a16="http://schemas.microsoft.com/office/drawing/2014/main" id="{239CADBE-6253-A96B-B807-8A77D736DC3B}"/>
                    </a:ext>
                  </a:extLst>
                </p:cNvPr>
                <p:cNvSpPr/>
                <p:nvPr/>
              </p:nvSpPr>
              <p:spPr>
                <a:xfrm>
                  <a:off x="8030526" y="219075"/>
                  <a:ext cx="690562" cy="248602"/>
                </a:xfrm>
                <a:custGeom>
                  <a:avLst/>
                  <a:gdLst>
                    <a:gd name="connsiteX0" fmla="*/ 343853 w 690562"/>
                    <a:gd name="connsiteY0" fmla="*/ 0 h 248602"/>
                    <a:gd name="connsiteX1" fmla="*/ 0 w 690562"/>
                    <a:gd name="connsiteY1" fmla="*/ 248603 h 248602"/>
                    <a:gd name="connsiteX2" fmla="*/ 344805 w 690562"/>
                    <a:gd name="connsiteY2" fmla="*/ 248603 h 248602"/>
                    <a:gd name="connsiteX3" fmla="*/ 690563 w 690562"/>
                    <a:gd name="connsiteY3" fmla="*/ 248603 h 2486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0562" h="248602">
                      <a:moveTo>
                        <a:pt x="343853" y="0"/>
                      </a:moveTo>
                      <a:lnTo>
                        <a:pt x="0" y="248603"/>
                      </a:lnTo>
                      <a:lnTo>
                        <a:pt x="344805" y="248603"/>
                      </a:lnTo>
                      <a:lnTo>
                        <a:pt x="690563" y="248603"/>
                      </a:ln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0EE8A529-A0C2-7EAA-9B89-4429797D4163}"/>
                </a:ext>
              </a:extLst>
            </p:cNvPr>
            <p:cNvGrpSpPr/>
            <p:nvPr/>
          </p:nvGrpSpPr>
          <p:grpSpPr>
            <a:xfrm>
              <a:off x="5240497" y="2258376"/>
              <a:ext cx="1892617" cy="2446972"/>
              <a:chOff x="5205412" y="325754"/>
              <a:chExt cx="1892617" cy="2446972"/>
            </a:xfrm>
          </p:grpSpPr>
          <p:sp>
            <p:nvSpPr>
              <p:cNvPr id="67" name="任意多边形 168">
                <a:extLst>
                  <a:ext uri="{FF2B5EF4-FFF2-40B4-BE49-F238E27FC236}">
                    <a16:creationId xmlns:a16="http://schemas.microsoft.com/office/drawing/2014/main" id="{2D4433C8-29BD-5179-5F6B-C6147B2C3C5E}"/>
                  </a:ext>
                </a:extLst>
              </p:cNvPr>
              <p:cNvSpPr/>
              <p:nvPr/>
            </p:nvSpPr>
            <p:spPr>
              <a:xfrm>
                <a:off x="6055042" y="425767"/>
                <a:ext cx="194309" cy="2346960"/>
              </a:xfrm>
              <a:custGeom>
                <a:avLst/>
                <a:gdLst>
                  <a:gd name="connsiteX0" fmla="*/ 194310 w 194309"/>
                  <a:gd name="connsiteY0" fmla="*/ 2346960 h 2346960"/>
                  <a:gd name="connsiteX1" fmla="*/ 0 w 194309"/>
                  <a:gd name="connsiteY1" fmla="*/ 2346960 h 2346960"/>
                  <a:gd name="connsiteX2" fmla="*/ 66675 w 194309"/>
                  <a:gd name="connsiteY2" fmla="*/ 0 h 2346960"/>
                  <a:gd name="connsiteX3" fmla="*/ 127635 w 194309"/>
                  <a:gd name="connsiteY3" fmla="*/ 0 h 2346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4309" h="2346960">
                    <a:moveTo>
                      <a:pt x="194310" y="2346960"/>
                    </a:moveTo>
                    <a:lnTo>
                      <a:pt x="0" y="2346960"/>
                    </a:lnTo>
                    <a:lnTo>
                      <a:pt x="66675" y="0"/>
                    </a:lnTo>
                    <a:lnTo>
                      <a:pt x="127635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8" name="组合 67">
                <a:extLst>
                  <a:ext uri="{FF2B5EF4-FFF2-40B4-BE49-F238E27FC236}">
                    <a16:creationId xmlns:a16="http://schemas.microsoft.com/office/drawing/2014/main" id="{0E828CA0-2B27-4FF0-3F8F-362952D1CC0B}"/>
                  </a:ext>
                </a:extLst>
              </p:cNvPr>
              <p:cNvGrpSpPr/>
              <p:nvPr/>
            </p:nvGrpSpPr>
            <p:grpSpPr>
              <a:xfrm>
                <a:off x="5205412" y="325754"/>
                <a:ext cx="1892617" cy="1728787"/>
                <a:chOff x="5205412" y="325754"/>
                <a:chExt cx="1892617" cy="1728787"/>
              </a:xfrm>
            </p:grpSpPr>
            <p:sp>
              <p:nvSpPr>
                <p:cNvPr id="69" name="任意多边形 170">
                  <a:extLst>
                    <a:ext uri="{FF2B5EF4-FFF2-40B4-BE49-F238E27FC236}">
                      <a16:creationId xmlns:a16="http://schemas.microsoft.com/office/drawing/2014/main" id="{89036D5B-F315-A58D-CCF7-A3350BDF4A45}"/>
                    </a:ext>
                  </a:extLst>
                </p:cNvPr>
                <p:cNvSpPr/>
                <p:nvPr/>
              </p:nvSpPr>
              <p:spPr>
                <a:xfrm>
                  <a:off x="5354954" y="596264"/>
                  <a:ext cx="741044" cy="741045"/>
                </a:xfrm>
                <a:custGeom>
                  <a:avLst/>
                  <a:gdLst>
                    <a:gd name="connsiteX0" fmla="*/ 741045 w 741044"/>
                    <a:gd name="connsiteY0" fmla="*/ 370523 h 741045"/>
                    <a:gd name="connsiteX1" fmla="*/ 370522 w 741044"/>
                    <a:gd name="connsiteY1" fmla="*/ 741045 h 741045"/>
                    <a:gd name="connsiteX2" fmla="*/ 0 w 741044"/>
                    <a:gd name="connsiteY2" fmla="*/ 370523 h 741045"/>
                    <a:gd name="connsiteX3" fmla="*/ 370522 w 741044"/>
                    <a:gd name="connsiteY3" fmla="*/ 0 h 741045"/>
                    <a:gd name="connsiteX4" fmla="*/ 741045 w 741044"/>
                    <a:gd name="connsiteY4" fmla="*/ 370523 h 741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1044" h="741045">
                      <a:moveTo>
                        <a:pt x="741045" y="370523"/>
                      </a:moveTo>
                      <a:cubicBezTo>
                        <a:pt x="741045" y="575310"/>
                        <a:pt x="575310" y="741045"/>
                        <a:pt x="370522" y="741045"/>
                      </a:cubicBezTo>
                      <a:cubicBezTo>
                        <a:pt x="165735" y="741045"/>
                        <a:pt x="0" y="575310"/>
                        <a:pt x="0" y="370523"/>
                      </a:cubicBezTo>
                      <a:cubicBezTo>
                        <a:pt x="0" y="165735"/>
                        <a:pt x="165735" y="0"/>
                        <a:pt x="370522" y="0"/>
                      </a:cubicBezTo>
                      <a:cubicBezTo>
                        <a:pt x="574357" y="0"/>
                        <a:pt x="741045" y="165735"/>
                        <a:pt x="741045" y="370523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0" name="任意多边形 171">
                  <a:extLst>
                    <a:ext uri="{FF2B5EF4-FFF2-40B4-BE49-F238E27FC236}">
                      <a16:creationId xmlns:a16="http://schemas.microsoft.com/office/drawing/2014/main" id="{C780C4B8-6F91-E2B7-1DF4-1331E326ACE1}"/>
                    </a:ext>
                  </a:extLst>
                </p:cNvPr>
                <p:cNvSpPr/>
                <p:nvPr/>
              </p:nvSpPr>
              <p:spPr>
                <a:xfrm>
                  <a:off x="6587489" y="866769"/>
                  <a:ext cx="510540" cy="510545"/>
                </a:xfrm>
                <a:custGeom>
                  <a:avLst/>
                  <a:gdLst>
                    <a:gd name="connsiteX0" fmla="*/ 510540 w 510540"/>
                    <a:gd name="connsiteY0" fmla="*/ 255276 h 510545"/>
                    <a:gd name="connsiteX1" fmla="*/ 255270 w 510540"/>
                    <a:gd name="connsiteY1" fmla="*/ 510546 h 510545"/>
                    <a:gd name="connsiteX2" fmla="*/ 0 w 510540"/>
                    <a:gd name="connsiteY2" fmla="*/ 255276 h 510545"/>
                    <a:gd name="connsiteX3" fmla="*/ 255270 w 510540"/>
                    <a:gd name="connsiteY3" fmla="*/ 6 h 510545"/>
                    <a:gd name="connsiteX4" fmla="*/ 510540 w 510540"/>
                    <a:gd name="connsiteY4" fmla="*/ 255276 h 5105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0540" h="510545">
                      <a:moveTo>
                        <a:pt x="510540" y="255276"/>
                      </a:moveTo>
                      <a:cubicBezTo>
                        <a:pt x="510540" y="396246"/>
                        <a:pt x="396240" y="510546"/>
                        <a:pt x="255270" y="510546"/>
                      </a:cubicBezTo>
                      <a:cubicBezTo>
                        <a:pt x="114300" y="510546"/>
                        <a:pt x="0" y="396246"/>
                        <a:pt x="0" y="255276"/>
                      </a:cubicBezTo>
                      <a:cubicBezTo>
                        <a:pt x="0" y="114306"/>
                        <a:pt x="114300" y="6"/>
                        <a:pt x="255270" y="6"/>
                      </a:cubicBezTo>
                      <a:cubicBezTo>
                        <a:pt x="396240" y="-947"/>
                        <a:pt x="510540" y="114306"/>
                        <a:pt x="510540" y="255276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1" name="任意多边形 172">
                  <a:extLst>
                    <a:ext uri="{FF2B5EF4-FFF2-40B4-BE49-F238E27FC236}">
                      <a16:creationId xmlns:a16="http://schemas.microsoft.com/office/drawing/2014/main" id="{45852896-3580-FC80-BB74-E128DBCB25C1}"/>
                    </a:ext>
                  </a:extLst>
                </p:cNvPr>
                <p:cNvSpPr/>
                <p:nvPr/>
              </p:nvSpPr>
              <p:spPr>
                <a:xfrm>
                  <a:off x="5427344" y="545782"/>
                  <a:ext cx="1508760" cy="1508759"/>
                </a:xfrm>
                <a:custGeom>
                  <a:avLst/>
                  <a:gdLst>
                    <a:gd name="connsiteX0" fmla="*/ 1508760 w 1508760"/>
                    <a:gd name="connsiteY0" fmla="*/ 754380 h 1508759"/>
                    <a:gd name="connsiteX1" fmla="*/ 754380 w 1508760"/>
                    <a:gd name="connsiteY1" fmla="*/ 1508760 h 1508759"/>
                    <a:gd name="connsiteX2" fmla="*/ 0 w 1508760"/>
                    <a:gd name="connsiteY2" fmla="*/ 754380 h 1508759"/>
                    <a:gd name="connsiteX3" fmla="*/ 754380 w 1508760"/>
                    <a:gd name="connsiteY3" fmla="*/ 0 h 1508759"/>
                    <a:gd name="connsiteX4" fmla="*/ 1508760 w 1508760"/>
                    <a:gd name="connsiteY4" fmla="*/ 754380 h 1508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760" h="1508759">
                      <a:moveTo>
                        <a:pt x="1508760" y="754380"/>
                      </a:moveTo>
                      <a:cubicBezTo>
                        <a:pt x="1508760" y="1170623"/>
                        <a:pt x="1171575" y="1508760"/>
                        <a:pt x="754380" y="1508760"/>
                      </a:cubicBezTo>
                      <a:cubicBezTo>
                        <a:pt x="338138" y="1508760"/>
                        <a:pt x="0" y="1171575"/>
                        <a:pt x="0" y="754380"/>
                      </a:cubicBezTo>
                      <a:cubicBezTo>
                        <a:pt x="0" y="338138"/>
                        <a:pt x="337185" y="0"/>
                        <a:pt x="754380" y="0"/>
                      </a:cubicBezTo>
                      <a:cubicBezTo>
                        <a:pt x="1171575" y="953"/>
                        <a:pt x="1508760" y="338138"/>
                        <a:pt x="1508760" y="754380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2" name="任意多边形 173">
                  <a:extLst>
                    <a:ext uri="{FF2B5EF4-FFF2-40B4-BE49-F238E27FC236}">
                      <a16:creationId xmlns:a16="http://schemas.microsoft.com/office/drawing/2014/main" id="{87ED978A-82A5-87A8-042C-E55759CA1A98}"/>
                    </a:ext>
                  </a:extLst>
                </p:cNvPr>
                <p:cNvSpPr/>
                <p:nvPr/>
              </p:nvSpPr>
              <p:spPr>
                <a:xfrm>
                  <a:off x="5205412" y="1026795"/>
                  <a:ext cx="798194" cy="798195"/>
                </a:xfrm>
                <a:custGeom>
                  <a:avLst/>
                  <a:gdLst>
                    <a:gd name="connsiteX0" fmla="*/ 798195 w 798194"/>
                    <a:gd name="connsiteY0" fmla="*/ 399097 h 798195"/>
                    <a:gd name="connsiteX1" fmla="*/ 399097 w 798194"/>
                    <a:gd name="connsiteY1" fmla="*/ 798195 h 798195"/>
                    <a:gd name="connsiteX2" fmla="*/ 0 w 798194"/>
                    <a:gd name="connsiteY2" fmla="*/ 399097 h 798195"/>
                    <a:gd name="connsiteX3" fmla="*/ 399097 w 798194"/>
                    <a:gd name="connsiteY3" fmla="*/ 0 h 798195"/>
                    <a:gd name="connsiteX4" fmla="*/ 798195 w 798194"/>
                    <a:gd name="connsiteY4" fmla="*/ 399097 h 798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98194" h="798195">
                      <a:moveTo>
                        <a:pt x="798195" y="399097"/>
                      </a:moveTo>
                      <a:cubicBezTo>
                        <a:pt x="798195" y="619125"/>
                        <a:pt x="619125" y="798195"/>
                        <a:pt x="399097" y="798195"/>
                      </a:cubicBezTo>
                      <a:cubicBezTo>
                        <a:pt x="179070" y="798195"/>
                        <a:pt x="0" y="619125"/>
                        <a:pt x="0" y="399097"/>
                      </a:cubicBezTo>
                      <a:cubicBezTo>
                        <a:pt x="0" y="179070"/>
                        <a:pt x="179070" y="0"/>
                        <a:pt x="399097" y="0"/>
                      </a:cubicBezTo>
                      <a:cubicBezTo>
                        <a:pt x="619125" y="0"/>
                        <a:pt x="798195" y="179070"/>
                        <a:pt x="798195" y="399097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3" name="任意多边形 174">
                  <a:extLst>
                    <a:ext uri="{FF2B5EF4-FFF2-40B4-BE49-F238E27FC236}">
                      <a16:creationId xmlns:a16="http://schemas.microsoft.com/office/drawing/2014/main" id="{83A364DA-108D-EFFF-827F-7748356E0A7F}"/>
                    </a:ext>
                  </a:extLst>
                </p:cNvPr>
                <p:cNvSpPr/>
                <p:nvPr/>
              </p:nvSpPr>
              <p:spPr>
                <a:xfrm>
                  <a:off x="6276021" y="1425892"/>
                  <a:ext cx="609600" cy="609600"/>
                </a:xfrm>
                <a:custGeom>
                  <a:avLst/>
                  <a:gdLst>
                    <a:gd name="connsiteX0" fmla="*/ 609600 w 609600"/>
                    <a:gd name="connsiteY0" fmla="*/ 304800 h 609600"/>
                    <a:gd name="connsiteX1" fmla="*/ 304800 w 609600"/>
                    <a:gd name="connsiteY1" fmla="*/ 609600 h 609600"/>
                    <a:gd name="connsiteX2" fmla="*/ 0 w 609600"/>
                    <a:gd name="connsiteY2" fmla="*/ 304800 h 609600"/>
                    <a:gd name="connsiteX3" fmla="*/ 304800 w 609600"/>
                    <a:gd name="connsiteY3" fmla="*/ 0 h 609600"/>
                    <a:gd name="connsiteX4" fmla="*/ 609600 w 609600"/>
                    <a:gd name="connsiteY4" fmla="*/ 304800 h 609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9600" h="609600">
                      <a:moveTo>
                        <a:pt x="609600" y="304800"/>
                      </a:moveTo>
                      <a:cubicBezTo>
                        <a:pt x="609600" y="473392"/>
                        <a:pt x="473393" y="609600"/>
                        <a:pt x="304800" y="609600"/>
                      </a:cubicBezTo>
                      <a:cubicBezTo>
                        <a:pt x="136208" y="609600"/>
                        <a:pt x="0" y="473392"/>
                        <a:pt x="0" y="304800"/>
                      </a:cubicBezTo>
                      <a:cubicBezTo>
                        <a:pt x="0" y="136208"/>
                        <a:pt x="136208" y="0"/>
                        <a:pt x="304800" y="0"/>
                      </a:cubicBezTo>
                      <a:cubicBezTo>
                        <a:pt x="473393" y="0"/>
                        <a:pt x="609600" y="136208"/>
                        <a:pt x="609600" y="30480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4" name="任意多边形 175">
                  <a:extLst>
                    <a:ext uri="{FF2B5EF4-FFF2-40B4-BE49-F238E27FC236}">
                      <a16:creationId xmlns:a16="http://schemas.microsoft.com/office/drawing/2014/main" id="{297248F1-49D8-9218-369A-9711FCB5E1D8}"/>
                    </a:ext>
                  </a:extLst>
                </p:cNvPr>
                <p:cNvSpPr/>
                <p:nvPr/>
              </p:nvSpPr>
              <p:spPr>
                <a:xfrm>
                  <a:off x="5838824" y="325754"/>
                  <a:ext cx="1003934" cy="1003934"/>
                </a:xfrm>
                <a:custGeom>
                  <a:avLst/>
                  <a:gdLst>
                    <a:gd name="connsiteX0" fmla="*/ 1003935 w 1003934"/>
                    <a:gd name="connsiteY0" fmla="*/ 501968 h 1003934"/>
                    <a:gd name="connsiteX1" fmla="*/ 501968 w 1003934"/>
                    <a:gd name="connsiteY1" fmla="*/ 1003935 h 1003934"/>
                    <a:gd name="connsiteX2" fmla="*/ 0 w 1003934"/>
                    <a:gd name="connsiteY2" fmla="*/ 501968 h 1003934"/>
                    <a:gd name="connsiteX3" fmla="*/ 501968 w 1003934"/>
                    <a:gd name="connsiteY3" fmla="*/ 0 h 1003934"/>
                    <a:gd name="connsiteX4" fmla="*/ 1003935 w 1003934"/>
                    <a:gd name="connsiteY4" fmla="*/ 501968 h 1003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3934" h="1003934">
                      <a:moveTo>
                        <a:pt x="1003935" y="501968"/>
                      </a:moveTo>
                      <a:cubicBezTo>
                        <a:pt x="1003935" y="779145"/>
                        <a:pt x="779145" y="1003935"/>
                        <a:pt x="501968" y="1003935"/>
                      </a:cubicBezTo>
                      <a:cubicBezTo>
                        <a:pt x="224790" y="1003935"/>
                        <a:pt x="0" y="779145"/>
                        <a:pt x="0" y="501968"/>
                      </a:cubicBezTo>
                      <a:cubicBezTo>
                        <a:pt x="0" y="224790"/>
                        <a:pt x="224790" y="0"/>
                        <a:pt x="501968" y="0"/>
                      </a:cubicBezTo>
                      <a:cubicBezTo>
                        <a:pt x="779145" y="0"/>
                        <a:pt x="1003935" y="224790"/>
                        <a:pt x="1003935" y="501968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5" name="任意多边形 176">
                  <a:extLst>
                    <a:ext uri="{FF2B5EF4-FFF2-40B4-BE49-F238E27FC236}">
                      <a16:creationId xmlns:a16="http://schemas.microsoft.com/office/drawing/2014/main" id="{F6192EB6-B73E-7024-6684-4B7E668E7FF6}"/>
                    </a:ext>
                  </a:extLst>
                </p:cNvPr>
                <p:cNvSpPr/>
                <p:nvPr/>
              </p:nvSpPr>
              <p:spPr>
                <a:xfrm>
                  <a:off x="6095046" y="1067752"/>
                  <a:ext cx="716280" cy="716280"/>
                </a:xfrm>
                <a:custGeom>
                  <a:avLst/>
                  <a:gdLst>
                    <a:gd name="connsiteX0" fmla="*/ 716280 w 716280"/>
                    <a:gd name="connsiteY0" fmla="*/ 358140 h 716280"/>
                    <a:gd name="connsiteX1" fmla="*/ 358140 w 716280"/>
                    <a:gd name="connsiteY1" fmla="*/ 716280 h 716280"/>
                    <a:gd name="connsiteX2" fmla="*/ 0 w 716280"/>
                    <a:gd name="connsiteY2" fmla="*/ 358140 h 716280"/>
                    <a:gd name="connsiteX3" fmla="*/ 358140 w 716280"/>
                    <a:gd name="connsiteY3" fmla="*/ 0 h 716280"/>
                    <a:gd name="connsiteX4" fmla="*/ 716280 w 716280"/>
                    <a:gd name="connsiteY4" fmla="*/ 358140 h 716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6280" h="716280">
                      <a:moveTo>
                        <a:pt x="716280" y="358140"/>
                      </a:moveTo>
                      <a:cubicBezTo>
                        <a:pt x="716280" y="556260"/>
                        <a:pt x="556260" y="716280"/>
                        <a:pt x="358140" y="716280"/>
                      </a:cubicBezTo>
                      <a:cubicBezTo>
                        <a:pt x="160020" y="716280"/>
                        <a:pt x="0" y="556260"/>
                        <a:pt x="0" y="358140"/>
                      </a:cubicBezTo>
                      <a:cubicBezTo>
                        <a:pt x="0" y="160020"/>
                        <a:pt x="160020" y="0"/>
                        <a:pt x="358140" y="0"/>
                      </a:cubicBezTo>
                      <a:cubicBezTo>
                        <a:pt x="556260" y="0"/>
                        <a:pt x="716280" y="160020"/>
                        <a:pt x="716280" y="35814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" name="任意多边形 177">
                  <a:extLst>
                    <a:ext uri="{FF2B5EF4-FFF2-40B4-BE49-F238E27FC236}">
                      <a16:creationId xmlns:a16="http://schemas.microsoft.com/office/drawing/2014/main" id="{6622D1DE-115D-1D7A-508A-90656F1A0010}"/>
                    </a:ext>
                  </a:extLst>
                </p:cNvPr>
                <p:cNvSpPr/>
                <p:nvPr/>
              </p:nvSpPr>
              <p:spPr>
                <a:xfrm>
                  <a:off x="5825489" y="1122045"/>
                  <a:ext cx="356234" cy="356234"/>
                </a:xfrm>
                <a:custGeom>
                  <a:avLst/>
                  <a:gdLst>
                    <a:gd name="connsiteX0" fmla="*/ 356235 w 356234"/>
                    <a:gd name="connsiteY0" fmla="*/ 178117 h 356234"/>
                    <a:gd name="connsiteX1" fmla="*/ 178117 w 356234"/>
                    <a:gd name="connsiteY1" fmla="*/ 356235 h 356234"/>
                    <a:gd name="connsiteX2" fmla="*/ 0 w 356234"/>
                    <a:gd name="connsiteY2" fmla="*/ 178117 h 356234"/>
                    <a:gd name="connsiteX3" fmla="*/ 178117 w 356234"/>
                    <a:gd name="connsiteY3" fmla="*/ 0 h 356234"/>
                    <a:gd name="connsiteX4" fmla="*/ 356235 w 356234"/>
                    <a:gd name="connsiteY4" fmla="*/ 178117 h 3562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234" h="356234">
                      <a:moveTo>
                        <a:pt x="356235" y="178117"/>
                      </a:moveTo>
                      <a:cubicBezTo>
                        <a:pt x="356235" y="276225"/>
                        <a:pt x="276225" y="356235"/>
                        <a:pt x="178117" y="356235"/>
                      </a:cubicBezTo>
                      <a:cubicBezTo>
                        <a:pt x="80010" y="356235"/>
                        <a:pt x="0" y="276225"/>
                        <a:pt x="0" y="178117"/>
                      </a:cubicBezTo>
                      <a:cubicBezTo>
                        <a:pt x="0" y="80010"/>
                        <a:pt x="80010" y="0"/>
                        <a:pt x="178117" y="0"/>
                      </a:cubicBezTo>
                      <a:cubicBezTo>
                        <a:pt x="277178" y="0"/>
                        <a:pt x="356235" y="80010"/>
                        <a:pt x="356235" y="178117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7" name="任意多边形 178">
                  <a:extLst>
                    <a:ext uri="{FF2B5EF4-FFF2-40B4-BE49-F238E27FC236}">
                      <a16:creationId xmlns:a16="http://schemas.microsoft.com/office/drawing/2014/main" id="{F88428BB-E988-EE1D-7B4A-A2175BCC689A}"/>
                    </a:ext>
                  </a:extLst>
                </p:cNvPr>
                <p:cNvSpPr/>
                <p:nvPr/>
              </p:nvSpPr>
              <p:spPr>
                <a:xfrm>
                  <a:off x="6644639" y="1199197"/>
                  <a:ext cx="419100" cy="419099"/>
                </a:xfrm>
                <a:custGeom>
                  <a:avLst/>
                  <a:gdLst>
                    <a:gd name="connsiteX0" fmla="*/ 419100 w 419100"/>
                    <a:gd name="connsiteY0" fmla="*/ 209550 h 419099"/>
                    <a:gd name="connsiteX1" fmla="*/ 209550 w 419100"/>
                    <a:gd name="connsiteY1" fmla="*/ 419100 h 419099"/>
                    <a:gd name="connsiteX2" fmla="*/ 0 w 419100"/>
                    <a:gd name="connsiteY2" fmla="*/ 209550 h 419099"/>
                    <a:gd name="connsiteX3" fmla="*/ 209550 w 419100"/>
                    <a:gd name="connsiteY3" fmla="*/ 0 h 419099"/>
                    <a:gd name="connsiteX4" fmla="*/ 419100 w 419100"/>
                    <a:gd name="connsiteY4" fmla="*/ 209550 h 419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9100" h="419099">
                      <a:moveTo>
                        <a:pt x="419100" y="209550"/>
                      </a:moveTo>
                      <a:cubicBezTo>
                        <a:pt x="419100" y="325755"/>
                        <a:pt x="324803" y="419100"/>
                        <a:pt x="209550" y="419100"/>
                      </a:cubicBezTo>
                      <a:cubicBezTo>
                        <a:pt x="93345" y="419100"/>
                        <a:pt x="0" y="324803"/>
                        <a:pt x="0" y="209550"/>
                      </a:cubicBezTo>
                      <a:cubicBezTo>
                        <a:pt x="0" y="93345"/>
                        <a:pt x="94297" y="0"/>
                        <a:pt x="209550" y="0"/>
                      </a:cubicBezTo>
                      <a:cubicBezTo>
                        <a:pt x="325755" y="0"/>
                        <a:pt x="419100" y="94298"/>
                        <a:pt x="419100" y="20955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8" name="任意多边形 179">
                  <a:extLst>
                    <a:ext uri="{FF2B5EF4-FFF2-40B4-BE49-F238E27FC236}">
                      <a16:creationId xmlns:a16="http://schemas.microsoft.com/office/drawing/2014/main" id="{9554263F-2169-A2E2-EBCA-EAB998EBDB03}"/>
                    </a:ext>
                  </a:extLst>
                </p:cNvPr>
                <p:cNvSpPr/>
                <p:nvPr/>
              </p:nvSpPr>
              <p:spPr>
                <a:xfrm>
                  <a:off x="5653087" y="1349692"/>
                  <a:ext cx="499109" cy="499110"/>
                </a:xfrm>
                <a:custGeom>
                  <a:avLst/>
                  <a:gdLst>
                    <a:gd name="connsiteX0" fmla="*/ 499110 w 499109"/>
                    <a:gd name="connsiteY0" fmla="*/ 249555 h 499110"/>
                    <a:gd name="connsiteX1" fmla="*/ 249555 w 499109"/>
                    <a:gd name="connsiteY1" fmla="*/ 499110 h 499110"/>
                    <a:gd name="connsiteX2" fmla="*/ 0 w 499109"/>
                    <a:gd name="connsiteY2" fmla="*/ 249555 h 499110"/>
                    <a:gd name="connsiteX3" fmla="*/ 249555 w 499109"/>
                    <a:gd name="connsiteY3" fmla="*/ 0 h 499110"/>
                    <a:gd name="connsiteX4" fmla="*/ 499110 w 499109"/>
                    <a:gd name="connsiteY4" fmla="*/ 249555 h 499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9109" h="499110">
                      <a:moveTo>
                        <a:pt x="499110" y="249555"/>
                      </a:moveTo>
                      <a:cubicBezTo>
                        <a:pt x="499110" y="387667"/>
                        <a:pt x="387668" y="499110"/>
                        <a:pt x="249555" y="499110"/>
                      </a:cubicBezTo>
                      <a:cubicBezTo>
                        <a:pt x="111443" y="499110"/>
                        <a:pt x="0" y="387667"/>
                        <a:pt x="0" y="249555"/>
                      </a:cubicBezTo>
                      <a:cubicBezTo>
                        <a:pt x="0" y="111442"/>
                        <a:pt x="111443" y="0"/>
                        <a:pt x="249555" y="0"/>
                      </a:cubicBezTo>
                      <a:cubicBezTo>
                        <a:pt x="386715" y="0"/>
                        <a:pt x="499110" y="111442"/>
                        <a:pt x="499110" y="249555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00FFA798-9BCA-0061-7C06-5D5DB71C5A46}"/>
                </a:ext>
              </a:extLst>
            </p:cNvPr>
            <p:cNvGrpSpPr/>
            <p:nvPr/>
          </p:nvGrpSpPr>
          <p:grpSpPr>
            <a:xfrm>
              <a:off x="3252047" y="2196916"/>
              <a:ext cx="995191" cy="2508433"/>
              <a:chOff x="3216962" y="264294"/>
              <a:chExt cx="995191" cy="2508433"/>
            </a:xfrm>
          </p:grpSpPr>
          <p:sp>
            <p:nvSpPr>
              <p:cNvPr id="56" name="任意多边形 183">
                <a:extLst>
                  <a:ext uri="{FF2B5EF4-FFF2-40B4-BE49-F238E27FC236}">
                    <a16:creationId xmlns:a16="http://schemas.microsoft.com/office/drawing/2014/main" id="{8D36E804-2426-3841-ADF6-A82977FC7192}"/>
                  </a:ext>
                </a:extLst>
              </p:cNvPr>
              <p:cNvSpPr/>
              <p:nvPr/>
            </p:nvSpPr>
            <p:spPr>
              <a:xfrm>
                <a:off x="3281110" y="264294"/>
                <a:ext cx="868010" cy="2011450"/>
              </a:xfrm>
              <a:custGeom>
                <a:avLst/>
                <a:gdLst>
                  <a:gd name="connsiteX0" fmla="*/ 526032 w 868010"/>
                  <a:gd name="connsiteY0" fmla="*/ 1999798 h 2011450"/>
                  <a:gd name="connsiteX1" fmla="*/ 838452 w 868010"/>
                  <a:gd name="connsiteY1" fmla="*/ 1649278 h 2011450"/>
                  <a:gd name="connsiteX2" fmla="*/ 768919 w 868010"/>
                  <a:gd name="connsiteY2" fmla="*/ 172903 h 2011450"/>
                  <a:gd name="connsiteX3" fmla="*/ 105979 w 868010"/>
                  <a:gd name="connsiteY3" fmla="*/ 97656 h 2011450"/>
                  <a:gd name="connsiteX4" fmla="*/ 35495 w 868010"/>
                  <a:gd name="connsiteY4" fmla="*/ 1321618 h 2011450"/>
                  <a:gd name="connsiteX5" fmla="*/ 526032 w 868010"/>
                  <a:gd name="connsiteY5" fmla="*/ 1999798 h 201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8010" h="2011450">
                    <a:moveTo>
                      <a:pt x="526032" y="1999798"/>
                    </a:moveTo>
                    <a:cubicBezTo>
                      <a:pt x="643190" y="1975033"/>
                      <a:pt x="826069" y="1932171"/>
                      <a:pt x="838452" y="1649278"/>
                    </a:cubicBezTo>
                    <a:cubicBezTo>
                      <a:pt x="850835" y="1367338"/>
                      <a:pt x="927987" y="352926"/>
                      <a:pt x="768919" y="172903"/>
                    </a:cubicBezTo>
                    <a:cubicBezTo>
                      <a:pt x="609852" y="-8072"/>
                      <a:pt x="305052" y="-69032"/>
                      <a:pt x="105979" y="97656"/>
                    </a:cubicBezTo>
                    <a:cubicBezTo>
                      <a:pt x="-93093" y="263391"/>
                      <a:pt x="52639" y="1125403"/>
                      <a:pt x="35495" y="1321618"/>
                    </a:cubicBezTo>
                    <a:cubicBezTo>
                      <a:pt x="17397" y="1517833"/>
                      <a:pt x="42162" y="2100763"/>
                      <a:pt x="526032" y="19997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 184">
                <a:extLst>
                  <a:ext uri="{FF2B5EF4-FFF2-40B4-BE49-F238E27FC236}">
                    <a16:creationId xmlns:a16="http://schemas.microsoft.com/office/drawing/2014/main" id="{5106A0EA-896B-CB77-B61C-7671FAC5E0C1}"/>
                  </a:ext>
                </a:extLst>
              </p:cNvPr>
              <p:cNvSpPr/>
              <p:nvPr/>
            </p:nvSpPr>
            <p:spPr>
              <a:xfrm>
                <a:off x="3702315" y="1480537"/>
                <a:ext cx="489368" cy="580319"/>
              </a:xfrm>
              <a:custGeom>
                <a:avLst/>
                <a:gdLst>
                  <a:gd name="connsiteX0" fmla="*/ 230556 w 489368"/>
                  <a:gd name="connsiteY0" fmla="*/ 579720 h 580319"/>
                  <a:gd name="connsiteX1" fmla="*/ 462966 w 489368"/>
                  <a:gd name="connsiteY1" fmla="*/ 432083 h 580319"/>
                  <a:gd name="connsiteX2" fmla="*/ 380099 w 489368"/>
                  <a:gd name="connsiteY2" fmla="*/ 32985 h 580319"/>
                  <a:gd name="connsiteX3" fmla="*/ 21006 w 489368"/>
                  <a:gd name="connsiteY3" fmla="*/ 136808 h 580319"/>
                  <a:gd name="connsiteX4" fmla="*/ 230556 w 489368"/>
                  <a:gd name="connsiteY4" fmla="*/ 579720 h 580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9368" h="580319">
                    <a:moveTo>
                      <a:pt x="230556" y="579720"/>
                    </a:moveTo>
                    <a:cubicBezTo>
                      <a:pt x="335331" y="573053"/>
                      <a:pt x="423914" y="542573"/>
                      <a:pt x="462966" y="432083"/>
                    </a:cubicBezTo>
                    <a:cubicBezTo>
                      <a:pt x="502019" y="321593"/>
                      <a:pt x="514401" y="113948"/>
                      <a:pt x="380099" y="32985"/>
                    </a:cubicBezTo>
                    <a:cubicBezTo>
                      <a:pt x="246749" y="-47977"/>
                      <a:pt x="58154" y="32985"/>
                      <a:pt x="21006" y="136808"/>
                    </a:cubicBezTo>
                    <a:cubicBezTo>
                      <a:pt x="-16141" y="241583"/>
                      <a:pt x="-33286" y="596865"/>
                      <a:pt x="230556" y="57972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 185">
                <a:extLst>
                  <a:ext uri="{FF2B5EF4-FFF2-40B4-BE49-F238E27FC236}">
                    <a16:creationId xmlns:a16="http://schemas.microsoft.com/office/drawing/2014/main" id="{0B8BD6D3-84C7-8C25-A59F-75891DBCFFBB}"/>
                  </a:ext>
                </a:extLst>
              </p:cNvPr>
              <p:cNvSpPr/>
              <p:nvPr/>
            </p:nvSpPr>
            <p:spPr>
              <a:xfrm>
                <a:off x="3653789" y="948689"/>
                <a:ext cx="150495" cy="1824037"/>
              </a:xfrm>
              <a:custGeom>
                <a:avLst/>
                <a:gdLst>
                  <a:gd name="connsiteX0" fmla="*/ 150495 w 150495"/>
                  <a:gd name="connsiteY0" fmla="*/ 1824038 h 1824037"/>
                  <a:gd name="connsiteX1" fmla="*/ 0 w 150495"/>
                  <a:gd name="connsiteY1" fmla="*/ 1824038 h 1824037"/>
                  <a:gd name="connsiteX2" fmla="*/ 51435 w 150495"/>
                  <a:gd name="connsiteY2" fmla="*/ 0 h 1824037"/>
                  <a:gd name="connsiteX3" fmla="*/ 99060 w 150495"/>
                  <a:gd name="connsiteY3" fmla="*/ 0 h 1824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495" h="1824037">
                    <a:moveTo>
                      <a:pt x="150495" y="1824038"/>
                    </a:moveTo>
                    <a:lnTo>
                      <a:pt x="0" y="1824038"/>
                    </a:lnTo>
                    <a:lnTo>
                      <a:pt x="51435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 186">
                <a:extLst>
                  <a:ext uri="{FF2B5EF4-FFF2-40B4-BE49-F238E27FC236}">
                    <a16:creationId xmlns:a16="http://schemas.microsoft.com/office/drawing/2014/main" id="{325AA8C7-F6B9-38DC-6F55-3175003A4918}"/>
                  </a:ext>
                </a:extLst>
              </p:cNvPr>
              <p:cNvSpPr/>
              <p:nvPr/>
            </p:nvSpPr>
            <p:spPr>
              <a:xfrm>
                <a:off x="3443804" y="838200"/>
                <a:ext cx="284279" cy="289560"/>
              </a:xfrm>
              <a:custGeom>
                <a:avLst/>
                <a:gdLst>
                  <a:gd name="connsiteX0" fmla="*/ 284280 w 284279"/>
                  <a:gd name="connsiteY0" fmla="*/ 235267 h 289560"/>
                  <a:gd name="connsiteX1" fmla="*/ 64252 w 284279"/>
                  <a:gd name="connsiteY1" fmla="*/ 0 h 289560"/>
                  <a:gd name="connsiteX2" fmla="*/ 435 w 284279"/>
                  <a:gd name="connsiteY2" fmla="*/ 20002 h 289560"/>
                  <a:gd name="connsiteX3" fmla="*/ 281422 w 284279"/>
                  <a:gd name="connsiteY3" fmla="*/ 289560 h 289560"/>
                  <a:gd name="connsiteX4" fmla="*/ 284280 w 284279"/>
                  <a:gd name="connsiteY4" fmla="*/ 235267 h 289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60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 187">
                <a:extLst>
                  <a:ext uri="{FF2B5EF4-FFF2-40B4-BE49-F238E27FC236}">
                    <a16:creationId xmlns:a16="http://schemas.microsoft.com/office/drawing/2014/main" id="{DC3531B5-95DF-0E14-CD45-BF50ECF0C337}"/>
                  </a:ext>
                </a:extLst>
              </p:cNvPr>
              <p:cNvSpPr/>
              <p:nvPr/>
            </p:nvSpPr>
            <p:spPr>
              <a:xfrm>
                <a:off x="3443804" y="1560195"/>
                <a:ext cx="284279" cy="289559"/>
              </a:xfrm>
              <a:custGeom>
                <a:avLst/>
                <a:gdLst>
                  <a:gd name="connsiteX0" fmla="*/ 284280 w 284279"/>
                  <a:gd name="connsiteY0" fmla="*/ 235267 h 289559"/>
                  <a:gd name="connsiteX1" fmla="*/ 64252 w 284279"/>
                  <a:gd name="connsiteY1" fmla="*/ 0 h 289559"/>
                  <a:gd name="connsiteX2" fmla="*/ 435 w 284279"/>
                  <a:gd name="connsiteY2" fmla="*/ 20002 h 289559"/>
                  <a:gd name="connsiteX3" fmla="*/ 281422 w 284279"/>
                  <a:gd name="connsiteY3" fmla="*/ 289560 h 289559"/>
                  <a:gd name="connsiteX4" fmla="*/ 284280 w 284279"/>
                  <a:gd name="connsiteY4" fmla="*/ 235267 h 289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59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 188">
                <a:extLst>
                  <a:ext uri="{FF2B5EF4-FFF2-40B4-BE49-F238E27FC236}">
                    <a16:creationId xmlns:a16="http://schemas.microsoft.com/office/drawing/2014/main" id="{E2A4489C-D121-070F-FF5E-0A9986841204}"/>
                  </a:ext>
                </a:extLst>
              </p:cNvPr>
              <p:cNvSpPr/>
              <p:nvPr/>
            </p:nvSpPr>
            <p:spPr>
              <a:xfrm>
                <a:off x="3724274" y="1116329"/>
                <a:ext cx="317182" cy="255270"/>
              </a:xfrm>
              <a:custGeom>
                <a:avLst/>
                <a:gdLst>
                  <a:gd name="connsiteX0" fmla="*/ 5715 w 317182"/>
                  <a:gd name="connsiteY0" fmla="*/ 200978 h 255270"/>
                  <a:gd name="connsiteX1" fmla="*/ 257175 w 317182"/>
                  <a:gd name="connsiteY1" fmla="*/ 0 h 255270"/>
                  <a:gd name="connsiteX2" fmla="*/ 317183 w 317182"/>
                  <a:gd name="connsiteY2" fmla="*/ 29528 h 255270"/>
                  <a:gd name="connsiteX3" fmla="*/ 0 w 317182"/>
                  <a:gd name="connsiteY3" fmla="*/ 255270 h 255270"/>
                  <a:gd name="connsiteX4" fmla="*/ 5715 w 317182"/>
                  <a:gd name="connsiteY4" fmla="*/ 200978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7182" h="255270">
                    <a:moveTo>
                      <a:pt x="5715" y="200978"/>
                    </a:moveTo>
                    <a:cubicBezTo>
                      <a:pt x="5715" y="200978"/>
                      <a:pt x="255270" y="248603"/>
                      <a:pt x="257175" y="0"/>
                    </a:cubicBezTo>
                    <a:lnTo>
                      <a:pt x="317183" y="29528"/>
                    </a:lnTo>
                    <a:cubicBezTo>
                      <a:pt x="317183" y="29528"/>
                      <a:pt x="308610" y="252413"/>
                      <a:pt x="0" y="255270"/>
                    </a:cubicBezTo>
                    <a:lnTo>
                      <a:pt x="5715" y="2009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 189">
                <a:extLst>
                  <a:ext uri="{FF2B5EF4-FFF2-40B4-BE49-F238E27FC236}">
                    <a16:creationId xmlns:a16="http://schemas.microsoft.com/office/drawing/2014/main" id="{9229FADB-D29B-0DB3-F276-1F3E7CB4E967}"/>
                  </a:ext>
                </a:extLst>
              </p:cNvPr>
              <p:cNvSpPr/>
              <p:nvPr/>
            </p:nvSpPr>
            <p:spPr>
              <a:xfrm>
                <a:off x="3741419" y="1302067"/>
                <a:ext cx="199239" cy="294322"/>
              </a:xfrm>
              <a:custGeom>
                <a:avLst/>
                <a:gdLst>
                  <a:gd name="connsiteX0" fmla="*/ 0 w 199239"/>
                  <a:gd name="connsiteY0" fmla="*/ 239078 h 294322"/>
                  <a:gd name="connsiteX1" fmla="*/ 155257 w 199239"/>
                  <a:gd name="connsiteY1" fmla="*/ 953 h 294322"/>
                  <a:gd name="connsiteX2" fmla="*/ 199072 w 199239"/>
                  <a:gd name="connsiteY2" fmla="*/ 0 h 294322"/>
                  <a:gd name="connsiteX3" fmla="*/ 952 w 199239"/>
                  <a:gd name="connsiteY3" fmla="*/ 294323 h 294322"/>
                  <a:gd name="connsiteX4" fmla="*/ 0 w 199239"/>
                  <a:gd name="connsiteY4" fmla="*/ 239078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8"/>
                    </a:moveTo>
                    <a:cubicBezTo>
                      <a:pt x="0" y="239078"/>
                      <a:pt x="175260" y="245745"/>
                      <a:pt x="155257" y="953"/>
                    </a:cubicBezTo>
                    <a:lnTo>
                      <a:pt x="199072" y="0"/>
                    </a:lnTo>
                    <a:cubicBezTo>
                      <a:pt x="199072" y="0"/>
                      <a:pt x="212408" y="240983"/>
                      <a:pt x="952" y="294323"/>
                    </a:cubicBezTo>
                    <a:lnTo>
                      <a:pt x="0" y="2390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 190">
                <a:extLst>
                  <a:ext uri="{FF2B5EF4-FFF2-40B4-BE49-F238E27FC236}">
                    <a16:creationId xmlns:a16="http://schemas.microsoft.com/office/drawing/2014/main" id="{11D83712-0150-A116-DB7E-DA13F85EFA2F}"/>
                  </a:ext>
                </a:extLst>
              </p:cNvPr>
              <p:cNvSpPr/>
              <p:nvPr/>
            </p:nvSpPr>
            <p:spPr>
              <a:xfrm>
                <a:off x="3741419" y="1663065"/>
                <a:ext cx="199239" cy="294322"/>
              </a:xfrm>
              <a:custGeom>
                <a:avLst/>
                <a:gdLst>
                  <a:gd name="connsiteX0" fmla="*/ 0 w 199239"/>
                  <a:gd name="connsiteY0" fmla="*/ 239077 h 294322"/>
                  <a:gd name="connsiteX1" fmla="*/ 155257 w 199239"/>
                  <a:gd name="connsiteY1" fmla="*/ 952 h 294322"/>
                  <a:gd name="connsiteX2" fmla="*/ 199072 w 199239"/>
                  <a:gd name="connsiteY2" fmla="*/ 0 h 294322"/>
                  <a:gd name="connsiteX3" fmla="*/ 952 w 199239"/>
                  <a:gd name="connsiteY3" fmla="*/ 294322 h 294322"/>
                  <a:gd name="connsiteX4" fmla="*/ 0 w 199239"/>
                  <a:gd name="connsiteY4" fmla="*/ 239077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7"/>
                    </a:moveTo>
                    <a:cubicBezTo>
                      <a:pt x="0" y="239077"/>
                      <a:pt x="175260" y="245745"/>
                      <a:pt x="155257" y="952"/>
                    </a:cubicBezTo>
                    <a:lnTo>
                      <a:pt x="199072" y="0"/>
                    </a:lnTo>
                    <a:cubicBezTo>
                      <a:pt x="199072" y="0"/>
                      <a:pt x="212408" y="240982"/>
                      <a:pt x="952" y="294322"/>
                    </a:cubicBezTo>
                    <a:lnTo>
                      <a:pt x="0" y="23907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 191">
                <a:extLst>
                  <a:ext uri="{FF2B5EF4-FFF2-40B4-BE49-F238E27FC236}">
                    <a16:creationId xmlns:a16="http://schemas.microsoft.com/office/drawing/2014/main" id="{D99E69D0-B8F3-69B6-3CD2-EE0473C2DAF1}"/>
                  </a:ext>
                </a:extLst>
              </p:cNvPr>
              <p:cNvSpPr/>
              <p:nvPr/>
            </p:nvSpPr>
            <p:spPr>
              <a:xfrm>
                <a:off x="3216962" y="326204"/>
                <a:ext cx="488947" cy="660283"/>
              </a:xfrm>
              <a:custGeom>
                <a:avLst/>
                <a:gdLst>
                  <a:gd name="connsiteX0" fmla="*/ 230135 w 488947"/>
                  <a:gd name="connsiteY0" fmla="*/ 659633 h 660283"/>
                  <a:gd name="connsiteX1" fmla="*/ 462545 w 488947"/>
                  <a:gd name="connsiteY1" fmla="*/ 491993 h 660283"/>
                  <a:gd name="connsiteX2" fmla="*/ 379677 w 488947"/>
                  <a:gd name="connsiteY2" fmla="*/ 37650 h 660283"/>
                  <a:gd name="connsiteX3" fmla="*/ 20585 w 488947"/>
                  <a:gd name="connsiteY3" fmla="*/ 155760 h 660283"/>
                  <a:gd name="connsiteX4" fmla="*/ 230135 w 488947"/>
                  <a:gd name="connsiteY4" fmla="*/ 659633 h 660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8947" h="660283">
                    <a:moveTo>
                      <a:pt x="230135" y="659633"/>
                    </a:moveTo>
                    <a:cubicBezTo>
                      <a:pt x="334910" y="652013"/>
                      <a:pt x="423492" y="617723"/>
                      <a:pt x="462545" y="491993"/>
                    </a:cubicBezTo>
                    <a:cubicBezTo>
                      <a:pt x="501597" y="366263"/>
                      <a:pt x="513980" y="130043"/>
                      <a:pt x="379677" y="37650"/>
                    </a:cubicBezTo>
                    <a:cubicBezTo>
                      <a:pt x="246327" y="-54742"/>
                      <a:pt x="57732" y="37650"/>
                      <a:pt x="20585" y="155760"/>
                    </a:cubicBezTo>
                    <a:cubicBezTo>
                      <a:pt x="-15610" y="273870"/>
                      <a:pt x="-33708" y="678683"/>
                      <a:pt x="230135" y="659633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 192">
                <a:extLst>
                  <a:ext uri="{FF2B5EF4-FFF2-40B4-BE49-F238E27FC236}">
                    <a16:creationId xmlns:a16="http://schemas.microsoft.com/office/drawing/2014/main" id="{D602609B-977C-4AB2-CAB6-1BFD6928C0B2}"/>
                  </a:ext>
                </a:extLst>
              </p:cNvPr>
              <p:cNvSpPr/>
              <p:nvPr/>
            </p:nvSpPr>
            <p:spPr>
              <a:xfrm>
                <a:off x="3871574" y="708915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 193">
                <a:extLst>
                  <a:ext uri="{FF2B5EF4-FFF2-40B4-BE49-F238E27FC236}">
                    <a16:creationId xmlns:a16="http://schemas.microsoft.com/office/drawing/2014/main" id="{54675573-AB2E-3D63-7C15-B0303F1B20F6}"/>
                  </a:ext>
                </a:extLst>
              </p:cNvPr>
              <p:cNvSpPr/>
              <p:nvPr/>
            </p:nvSpPr>
            <p:spPr>
              <a:xfrm>
                <a:off x="3242924" y="1171830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68641011-B90A-E089-4277-1269FB7D09E0}"/>
                </a:ext>
              </a:extLst>
            </p:cNvPr>
            <p:cNvGrpSpPr/>
            <p:nvPr/>
          </p:nvGrpSpPr>
          <p:grpSpPr>
            <a:xfrm>
              <a:off x="4118451" y="4450079"/>
              <a:ext cx="707707" cy="256222"/>
              <a:chOff x="4083366" y="2517457"/>
              <a:chExt cx="707707" cy="256222"/>
            </a:xfrm>
          </p:grpSpPr>
          <p:sp>
            <p:nvSpPr>
              <p:cNvPr id="52" name="任意多边形 196">
                <a:extLst>
                  <a:ext uri="{FF2B5EF4-FFF2-40B4-BE49-F238E27FC236}">
                    <a16:creationId xmlns:a16="http://schemas.microsoft.com/office/drawing/2014/main" id="{D5154B23-8E67-3DEE-4A42-B663068245B9}"/>
                  </a:ext>
                </a:extLst>
              </p:cNvPr>
              <p:cNvSpPr/>
              <p:nvPr/>
            </p:nvSpPr>
            <p:spPr>
              <a:xfrm>
                <a:off x="4195762" y="2517457"/>
                <a:ext cx="510540" cy="255270"/>
              </a:xfrm>
              <a:custGeom>
                <a:avLst/>
                <a:gdLst>
                  <a:gd name="connsiteX0" fmla="*/ 255270 w 510540"/>
                  <a:gd name="connsiteY0" fmla="*/ 0 h 255270"/>
                  <a:gd name="connsiteX1" fmla="*/ 0 w 510540"/>
                  <a:gd name="connsiteY1" fmla="*/ 255270 h 255270"/>
                  <a:gd name="connsiteX2" fmla="*/ 510540 w 510540"/>
                  <a:gd name="connsiteY2" fmla="*/ 255270 h 255270"/>
                  <a:gd name="connsiteX3" fmla="*/ 255270 w 510540"/>
                  <a:gd name="connsiteY3" fmla="*/ 0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0540" h="255270">
                    <a:moveTo>
                      <a:pt x="255270" y="0"/>
                    </a:moveTo>
                    <a:cubicBezTo>
                      <a:pt x="114300" y="0"/>
                      <a:pt x="0" y="114300"/>
                      <a:pt x="0" y="255270"/>
                    </a:cubicBezTo>
                    <a:lnTo>
                      <a:pt x="510540" y="255270"/>
                    </a:lnTo>
                    <a:cubicBezTo>
                      <a:pt x="510540" y="114300"/>
                      <a:pt x="396240" y="0"/>
                      <a:pt x="255270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 197">
                <a:extLst>
                  <a:ext uri="{FF2B5EF4-FFF2-40B4-BE49-F238E27FC236}">
                    <a16:creationId xmlns:a16="http://schemas.microsoft.com/office/drawing/2014/main" id="{8AD2BD82-209E-26BD-0B77-846320860A18}"/>
                  </a:ext>
                </a:extLst>
              </p:cNvPr>
              <p:cNvSpPr/>
              <p:nvPr/>
            </p:nvSpPr>
            <p:spPr>
              <a:xfrm>
                <a:off x="4083366" y="2619375"/>
                <a:ext cx="307657" cy="154305"/>
              </a:xfrm>
              <a:custGeom>
                <a:avLst/>
                <a:gdLst>
                  <a:gd name="connsiteX0" fmla="*/ 154305 w 307657"/>
                  <a:gd name="connsiteY0" fmla="*/ 0 h 154305"/>
                  <a:gd name="connsiteX1" fmla="*/ 0 w 307657"/>
                  <a:gd name="connsiteY1" fmla="*/ 154305 h 154305"/>
                  <a:gd name="connsiteX2" fmla="*/ 307658 w 307657"/>
                  <a:gd name="connsiteY2" fmla="*/ 154305 h 154305"/>
                  <a:gd name="connsiteX3" fmla="*/ 154305 w 307657"/>
                  <a:gd name="connsiteY3" fmla="*/ 0 h 154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7657" h="154305">
                    <a:moveTo>
                      <a:pt x="154305" y="0"/>
                    </a:moveTo>
                    <a:cubicBezTo>
                      <a:pt x="69533" y="0"/>
                      <a:pt x="0" y="68580"/>
                      <a:pt x="0" y="154305"/>
                    </a:cubicBezTo>
                    <a:lnTo>
                      <a:pt x="307658" y="154305"/>
                    </a:lnTo>
                    <a:cubicBezTo>
                      <a:pt x="307658" y="68580"/>
                      <a:pt x="239078" y="0"/>
                      <a:pt x="15430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 198">
                <a:extLst>
                  <a:ext uri="{FF2B5EF4-FFF2-40B4-BE49-F238E27FC236}">
                    <a16:creationId xmlns:a16="http://schemas.microsoft.com/office/drawing/2014/main" id="{18F16F46-2591-921D-7C7B-CDECA985F903}"/>
                  </a:ext>
                </a:extLst>
              </p:cNvPr>
              <p:cNvSpPr/>
              <p:nvPr/>
            </p:nvSpPr>
            <p:spPr>
              <a:xfrm>
                <a:off x="4277677" y="2664142"/>
                <a:ext cx="217169" cy="108584"/>
              </a:xfrm>
              <a:custGeom>
                <a:avLst/>
                <a:gdLst>
                  <a:gd name="connsiteX0" fmla="*/ 108585 w 217169"/>
                  <a:gd name="connsiteY0" fmla="*/ 0 h 108584"/>
                  <a:gd name="connsiteX1" fmla="*/ 0 w 217169"/>
                  <a:gd name="connsiteY1" fmla="*/ 108585 h 108584"/>
                  <a:gd name="connsiteX2" fmla="*/ 217170 w 217169"/>
                  <a:gd name="connsiteY2" fmla="*/ 108585 h 108584"/>
                  <a:gd name="connsiteX3" fmla="*/ 108585 w 217169"/>
                  <a:gd name="connsiteY3" fmla="*/ 0 h 108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7169" h="108584">
                    <a:moveTo>
                      <a:pt x="108585" y="0"/>
                    </a:moveTo>
                    <a:cubicBezTo>
                      <a:pt x="48577" y="0"/>
                      <a:pt x="0" y="48577"/>
                      <a:pt x="0" y="108585"/>
                    </a:cubicBezTo>
                    <a:lnTo>
                      <a:pt x="217170" y="108585"/>
                    </a:lnTo>
                    <a:cubicBezTo>
                      <a:pt x="217170" y="48577"/>
                      <a:pt x="168592" y="0"/>
                      <a:pt x="10858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 199">
                <a:extLst>
                  <a:ext uri="{FF2B5EF4-FFF2-40B4-BE49-F238E27FC236}">
                    <a16:creationId xmlns:a16="http://schemas.microsoft.com/office/drawing/2014/main" id="{1CA7C18D-A455-0A92-D20E-401FCB3EF342}"/>
                  </a:ext>
                </a:extLst>
              </p:cNvPr>
              <p:cNvSpPr/>
              <p:nvPr/>
            </p:nvSpPr>
            <p:spPr>
              <a:xfrm>
                <a:off x="4589144" y="2671762"/>
                <a:ext cx="201929" cy="100965"/>
              </a:xfrm>
              <a:custGeom>
                <a:avLst/>
                <a:gdLst>
                  <a:gd name="connsiteX0" fmla="*/ 100965 w 201929"/>
                  <a:gd name="connsiteY0" fmla="*/ 0 h 100965"/>
                  <a:gd name="connsiteX1" fmla="*/ 0 w 201929"/>
                  <a:gd name="connsiteY1" fmla="*/ 100965 h 100965"/>
                  <a:gd name="connsiteX2" fmla="*/ 201930 w 201929"/>
                  <a:gd name="connsiteY2" fmla="*/ 100965 h 100965"/>
                  <a:gd name="connsiteX3" fmla="*/ 100965 w 201929"/>
                  <a:gd name="connsiteY3" fmla="*/ 0 h 100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1929" h="100965">
                    <a:moveTo>
                      <a:pt x="100965" y="0"/>
                    </a:moveTo>
                    <a:cubicBezTo>
                      <a:pt x="45720" y="0"/>
                      <a:pt x="0" y="44768"/>
                      <a:pt x="0" y="100965"/>
                    </a:cubicBezTo>
                    <a:lnTo>
                      <a:pt x="201930" y="100965"/>
                    </a:lnTo>
                    <a:cubicBezTo>
                      <a:pt x="201930" y="45720"/>
                      <a:pt x="157163" y="0"/>
                      <a:pt x="100965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1B1C0826-5D5E-A128-5F40-C8E6137DBFE7}"/>
                </a:ext>
              </a:extLst>
            </p:cNvPr>
            <p:cNvGrpSpPr/>
            <p:nvPr/>
          </p:nvGrpSpPr>
          <p:grpSpPr>
            <a:xfrm>
              <a:off x="7536022" y="4531994"/>
              <a:ext cx="482917" cy="174307"/>
              <a:chOff x="7500937" y="2599372"/>
              <a:chExt cx="482917" cy="174307"/>
            </a:xfrm>
          </p:grpSpPr>
          <p:sp>
            <p:nvSpPr>
              <p:cNvPr id="48" name="任意多边形 201">
                <a:extLst>
                  <a:ext uri="{FF2B5EF4-FFF2-40B4-BE49-F238E27FC236}">
                    <a16:creationId xmlns:a16="http://schemas.microsoft.com/office/drawing/2014/main" id="{C7BD3E5C-09D4-DE5F-FB57-B6BD984036C9}"/>
                  </a:ext>
                </a:extLst>
              </p:cNvPr>
              <p:cNvSpPr/>
              <p:nvPr/>
            </p:nvSpPr>
            <p:spPr>
              <a:xfrm>
                <a:off x="7578089" y="2599372"/>
                <a:ext cx="347662" cy="174307"/>
              </a:xfrm>
              <a:custGeom>
                <a:avLst/>
                <a:gdLst>
                  <a:gd name="connsiteX0" fmla="*/ 174308 w 347662"/>
                  <a:gd name="connsiteY0" fmla="*/ 0 h 174307"/>
                  <a:gd name="connsiteX1" fmla="*/ 0 w 347662"/>
                  <a:gd name="connsiteY1" fmla="*/ 174308 h 174307"/>
                  <a:gd name="connsiteX2" fmla="*/ 347662 w 347662"/>
                  <a:gd name="connsiteY2" fmla="*/ 174308 h 174307"/>
                  <a:gd name="connsiteX3" fmla="*/ 174308 w 347662"/>
                  <a:gd name="connsiteY3" fmla="*/ 0 h 17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7662" h="174307">
                    <a:moveTo>
                      <a:pt x="174308" y="0"/>
                    </a:moveTo>
                    <a:cubicBezTo>
                      <a:pt x="78105" y="0"/>
                      <a:pt x="0" y="78105"/>
                      <a:pt x="0" y="174308"/>
                    </a:cubicBezTo>
                    <a:lnTo>
                      <a:pt x="347662" y="174308"/>
                    </a:lnTo>
                    <a:cubicBezTo>
                      <a:pt x="347662" y="77153"/>
                      <a:pt x="269558" y="0"/>
                      <a:pt x="174308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 202">
                <a:extLst>
                  <a:ext uri="{FF2B5EF4-FFF2-40B4-BE49-F238E27FC236}">
                    <a16:creationId xmlns:a16="http://schemas.microsoft.com/office/drawing/2014/main" id="{9DBED9F7-2C50-C805-A540-3BCF6AEAA3C8}"/>
                  </a:ext>
                </a:extLst>
              </p:cNvPr>
              <p:cNvSpPr/>
              <p:nvPr/>
            </p:nvSpPr>
            <p:spPr>
              <a:xfrm>
                <a:off x="7500937" y="2667952"/>
                <a:ext cx="209550" cy="104775"/>
              </a:xfrm>
              <a:custGeom>
                <a:avLst/>
                <a:gdLst>
                  <a:gd name="connsiteX0" fmla="*/ 104775 w 209550"/>
                  <a:gd name="connsiteY0" fmla="*/ 0 h 104775"/>
                  <a:gd name="connsiteX1" fmla="*/ 0 w 209550"/>
                  <a:gd name="connsiteY1" fmla="*/ 104775 h 104775"/>
                  <a:gd name="connsiteX2" fmla="*/ 209550 w 209550"/>
                  <a:gd name="connsiteY2" fmla="*/ 104775 h 104775"/>
                  <a:gd name="connsiteX3" fmla="*/ 104775 w 209550"/>
                  <a:gd name="connsiteY3" fmla="*/ 0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50" h="104775">
                    <a:moveTo>
                      <a:pt x="104775" y="0"/>
                    </a:moveTo>
                    <a:cubicBezTo>
                      <a:pt x="46672" y="0"/>
                      <a:pt x="0" y="46672"/>
                      <a:pt x="0" y="104775"/>
                    </a:cubicBezTo>
                    <a:lnTo>
                      <a:pt x="209550" y="104775"/>
                    </a:lnTo>
                    <a:cubicBezTo>
                      <a:pt x="209550" y="47625"/>
                      <a:pt x="162877" y="0"/>
                      <a:pt x="10477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 203">
                <a:extLst>
                  <a:ext uri="{FF2B5EF4-FFF2-40B4-BE49-F238E27FC236}">
                    <a16:creationId xmlns:a16="http://schemas.microsoft.com/office/drawing/2014/main" id="{2B325BF3-81FA-6DD5-779C-EA81A9AC21FF}"/>
                  </a:ext>
                </a:extLst>
              </p:cNvPr>
              <p:cNvSpPr/>
              <p:nvPr/>
            </p:nvSpPr>
            <p:spPr>
              <a:xfrm>
                <a:off x="7633334" y="2699384"/>
                <a:ext cx="147637" cy="74295"/>
              </a:xfrm>
              <a:custGeom>
                <a:avLst/>
                <a:gdLst>
                  <a:gd name="connsiteX0" fmla="*/ 74295 w 147637"/>
                  <a:gd name="connsiteY0" fmla="*/ 0 h 74295"/>
                  <a:gd name="connsiteX1" fmla="*/ 0 w 147637"/>
                  <a:gd name="connsiteY1" fmla="*/ 74295 h 74295"/>
                  <a:gd name="connsiteX2" fmla="*/ 147638 w 147637"/>
                  <a:gd name="connsiteY2" fmla="*/ 74295 h 74295"/>
                  <a:gd name="connsiteX3" fmla="*/ 74295 w 147637"/>
                  <a:gd name="connsiteY3" fmla="*/ 0 h 74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7637" h="74295">
                    <a:moveTo>
                      <a:pt x="74295" y="0"/>
                    </a:moveTo>
                    <a:cubicBezTo>
                      <a:pt x="33338" y="0"/>
                      <a:pt x="0" y="33338"/>
                      <a:pt x="0" y="74295"/>
                    </a:cubicBezTo>
                    <a:lnTo>
                      <a:pt x="147638" y="74295"/>
                    </a:lnTo>
                    <a:cubicBezTo>
                      <a:pt x="147638" y="32385"/>
                      <a:pt x="115252" y="0"/>
                      <a:pt x="7429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 204">
                <a:extLst>
                  <a:ext uri="{FF2B5EF4-FFF2-40B4-BE49-F238E27FC236}">
                    <a16:creationId xmlns:a16="http://schemas.microsoft.com/office/drawing/2014/main" id="{E0BABA65-48E6-E7A1-450A-524CECA5BAC8}"/>
                  </a:ext>
                </a:extLst>
              </p:cNvPr>
              <p:cNvSpPr/>
              <p:nvPr/>
            </p:nvSpPr>
            <p:spPr>
              <a:xfrm>
                <a:off x="7846694" y="2704147"/>
                <a:ext cx="137160" cy="68580"/>
              </a:xfrm>
              <a:custGeom>
                <a:avLst/>
                <a:gdLst>
                  <a:gd name="connsiteX0" fmla="*/ 68580 w 137160"/>
                  <a:gd name="connsiteY0" fmla="*/ 0 h 68580"/>
                  <a:gd name="connsiteX1" fmla="*/ 0 w 137160"/>
                  <a:gd name="connsiteY1" fmla="*/ 68580 h 68580"/>
                  <a:gd name="connsiteX2" fmla="*/ 137160 w 137160"/>
                  <a:gd name="connsiteY2" fmla="*/ 68580 h 68580"/>
                  <a:gd name="connsiteX3" fmla="*/ 68580 w 137160"/>
                  <a:gd name="connsiteY3" fmla="*/ 0 h 68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160" h="68580">
                    <a:moveTo>
                      <a:pt x="68580" y="0"/>
                    </a:moveTo>
                    <a:cubicBezTo>
                      <a:pt x="30480" y="0"/>
                      <a:pt x="0" y="30480"/>
                      <a:pt x="0" y="68580"/>
                    </a:cubicBezTo>
                    <a:lnTo>
                      <a:pt x="137160" y="68580"/>
                    </a:lnTo>
                    <a:cubicBezTo>
                      <a:pt x="137160" y="30480"/>
                      <a:pt x="105728" y="0"/>
                      <a:pt x="6858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7BEDED7B-3F8E-AC69-5F91-8EA761B82CC8}"/>
                </a:ext>
              </a:extLst>
            </p:cNvPr>
            <p:cNvGrpSpPr/>
            <p:nvPr/>
          </p:nvGrpSpPr>
          <p:grpSpPr>
            <a:xfrm>
              <a:off x="4761389" y="3611879"/>
              <a:ext cx="647700" cy="1093470"/>
              <a:chOff x="4726304" y="1679257"/>
              <a:chExt cx="647700" cy="1093470"/>
            </a:xfrm>
          </p:grpSpPr>
          <p:sp>
            <p:nvSpPr>
              <p:cNvPr id="44" name="任意多边形 207">
                <a:extLst>
                  <a:ext uri="{FF2B5EF4-FFF2-40B4-BE49-F238E27FC236}">
                    <a16:creationId xmlns:a16="http://schemas.microsoft.com/office/drawing/2014/main" id="{D9B5E869-10B7-2ED9-092E-CB5D30419FEC}"/>
                  </a:ext>
                </a:extLst>
              </p:cNvPr>
              <p:cNvSpPr/>
              <p:nvPr/>
            </p:nvSpPr>
            <p:spPr>
              <a:xfrm>
                <a:off x="5007291" y="2360295"/>
                <a:ext cx="85725" cy="412432"/>
              </a:xfrm>
              <a:custGeom>
                <a:avLst/>
                <a:gdLst>
                  <a:gd name="connsiteX0" fmla="*/ 0 w 85725"/>
                  <a:gd name="connsiteY0" fmla="*/ 412433 h 412432"/>
                  <a:gd name="connsiteX1" fmla="*/ 85725 w 85725"/>
                  <a:gd name="connsiteY1" fmla="*/ 412433 h 412432"/>
                  <a:gd name="connsiteX2" fmla="*/ 75248 w 85725"/>
                  <a:gd name="connsiteY2" fmla="*/ 0 h 412432"/>
                  <a:gd name="connsiteX3" fmla="*/ 15240 w 85725"/>
                  <a:gd name="connsiteY3" fmla="*/ 0 h 412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5" h="412432">
                    <a:moveTo>
                      <a:pt x="0" y="412433"/>
                    </a:moveTo>
                    <a:lnTo>
                      <a:pt x="85725" y="412433"/>
                    </a:lnTo>
                    <a:lnTo>
                      <a:pt x="75248" y="0"/>
                    </a:lnTo>
                    <a:lnTo>
                      <a:pt x="1524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 208">
                <a:extLst>
                  <a:ext uri="{FF2B5EF4-FFF2-40B4-BE49-F238E27FC236}">
                    <a16:creationId xmlns:a16="http://schemas.microsoft.com/office/drawing/2014/main" id="{7646E761-4204-F391-9DF2-B5626EA336AF}"/>
                  </a:ext>
                </a:extLst>
              </p:cNvPr>
              <p:cNvSpPr/>
              <p:nvPr/>
            </p:nvSpPr>
            <p:spPr>
              <a:xfrm>
                <a:off x="5028246" y="2368867"/>
                <a:ext cx="172031" cy="227647"/>
              </a:xfrm>
              <a:custGeom>
                <a:avLst/>
                <a:gdLst>
                  <a:gd name="connsiteX0" fmla="*/ 953 w 172031"/>
                  <a:gd name="connsiteY0" fmla="*/ 180023 h 227647"/>
                  <a:gd name="connsiteX1" fmla="*/ 125730 w 172031"/>
                  <a:gd name="connsiteY1" fmla="*/ 0 h 227647"/>
                  <a:gd name="connsiteX2" fmla="*/ 170497 w 172031"/>
                  <a:gd name="connsiteY2" fmla="*/ 7620 h 227647"/>
                  <a:gd name="connsiteX3" fmla="*/ 0 w 172031"/>
                  <a:gd name="connsiteY3" fmla="*/ 227648 h 227647"/>
                  <a:gd name="connsiteX4" fmla="*/ 953 w 172031"/>
                  <a:gd name="connsiteY4" fmla="*/ 180023 h 227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2031" h="227647">
                    <a:moveTo>
                      <a:pt x="953" y="180023"/>
                    </a:moveTo>
                    <a:cubicBezTo>
                      <a:pt x="953" y="180023"/>
                      <a:pt x="172403" y="161925"/>
                      <a:pt x="125730" y="0"/>
                    </a:cubicBezTo>
                    <a:lnTo>
                      <a:pt x="170497" y="7620"/>
                    </a:lnTo>
                    <a:cubicBezTo>
                      <a:pt x="170497" y="7620"/>
                      <a:pt x="200025" y="164783"/>
                      <a:pt x="0" y="227648"/>
                    </a:cubicBezTo>
                    <a:lnTo>
                      <a:pt x="953" y="180023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 209">
                <a:extLst>
                  <a:ext uri="{FF2B5EF4-FFF2-40B4-BE49-F238E27FC236}">
                    <a16:creationId xmlns:a16="http://schemas.microsoft.com/office/drawing/2014/main" id="{D08E45E5-B373-4CCC-461E-85D1EBFE28C0}"/>
                  </a:ext>
                </a:extLst>
              </p:cNvPr>
              <p:cNvSpPr/>
              <p:nvPr/>
            </p:nvSpPr>
            <p:spPr>
              <a:xfrm>
                <a:off x="4907258" y="2329815"/>
                <a:ext cx="142896" cy="184784"/>
              </a:xfrm>
              <a:custGeom>
                <a:avLst/>
                <a:gdLst>
                  <a:gd name="connsiteX0" fmla="*/ 36216 w 142896"/>
                  <a:gd name="connsiteY0" fmla="*/ 12382 h 184784"/>
                  <a:gd name="connsiteX1" fmla="*/ 142896 w 142896"/>
                  <a:gd name="connsiteY1" fmla="*/ 152400 h 184784"/>
                  <a:gd name="connsiteX2" fmla="*/ 125751 w 142896"/>
                  <a:gd name="connsiteY2" fmla="*/ 184785 h 184784"/>
                  <a:gd name="connsiteX3" fmla="*/ 21 w 142896"/>
                  <a:gd name="connsiteY3" fmla="*/ 0 h 184784"/>
                  <a:gd name="connsiteX4" fmla="*/ 36216 w 142896"/>
                  <a:gd name="connsiteY4" fmla="*/ 12382 h 184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896" h="184784">
                    <a:moveTo>
                      <a:pt x="36216" y="12382"/>
                    </a:moveTo>
                    <a:cubicBezTo>
                      <a:pt x="36216" y="12382"/>
                      <a:pt x="7641" y="148590"/>
                      <a:pt x="142896" y="152400"/>
                    </a:cubicBezTo>
                    <a:lnTo>
                      <a:pt x="125751" y="184785"/>
                    </a:lnTo>
                    <a:cubicBezTo>
                      <a:pt x="125751" y="184785"/>
                      <a:pt x="-1884" y="168592"/>
                      <a:pt x="21" y="0"/>
                    </a:cubicBezTo>
                    <a:lnTo>
                      <a:pt x="36216" y="12382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 210">
                <a:extLst>
                  <a:ext uri="{FF2B5EF4-FFF2-40B4-BE49-F238E27FC236}">
                    <a16:creationId xmlns:a16="http://schemas.microsoft.com/office/drawing/2014/main" id="{51855C90-C88F-7A58-6DC6-674CB5B7690C}"/>
                  </a:ext>
                </a:extLst>
              </p:cNvPr>
              <p:cNvSpPr/>
              <p:nvPr/>
            </p:nvSpPr>
            <p:spPr>
              <a:xfrm>
                <a:off x="4726304" y="1679257"/>
                <a:ext cx="647700" cy="770572"/>
              </a:xfrm>
              <a:custGeom>
                <a:avLst/>
                <a:gdLst>
                  <a:gd name="connsiteX0" fmla="*/ 647700 w 647700"/>
                  <a:gd name="connsiteY0" fmla="*/ 425767 h 770572"/>
                  <a:gd name="connsiteX1" fmla="*/ 323850 w 647700"/>
                  <a:gd name="connsiteY1" fmla="*/ 770572 h 770572"/>
                  <a:gd name="connsiteX2" fmla="*/ 0 w 647700"/>
                  <a:gd name="connsiteY2" fmla="*/ 425767 h 770572"/>
                  <a:gd name="connsiteX3" fmla="*/ 323850 w 647700"/>
                  <a:gd name="connsiteY3" fmla="*/ 0 h 770572"/>
                  <a:gd name="connsiteX4" fmla="*/ 647700 w 647700"/>
                  <a:gd name="connsiteY4" fmla="*/ 425767 h 770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7700" h="770572">
                    <a:moveTo>
                      <a:pt x="647700" y="425767"/>
                    </a:moveTo>
                    <a:cubicBezTo>
                      <a:pt x="647700" y="661035"/>
                      <a:pt x="502920" y="770572"/>
                      <a:pt x="323850" y="770572"/>
                    </a:cubicBezTo>
                    <a:cubicBezTo>
                      <a:pt x="144780" y="770572"/>
                      <a:pt x="0" y="661988"/>
                      <a:pt x="0" y="425767"/>
                    </a:cubicBezTo>
                    <a:cubicBezTo>
                      <a:pt x="0" y="190500"/>
                      <a:pt x="144780" y="0"/>
                      <a:pt x="323850" y="0"/>
                    </a:cubicBezTo>
                    <a:cubicBezTo>
                      <a:pt x="502920" y="0"/>
                      <a:pt x="647700" y="190500"/>
                      <a:pt x="647700" y="425767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08C872B6-A81B-436C-4C8D-3BA6D8478693}"/>
                </a:ext>
              </a:extLst>
            </p:cNvPr>
            <p:cNvGrpSpPr/>
            <p:nvPr/>
          </p:nvGrpSpPr>
          <p:grpSpPr>
            <a:xfrm>
              <a:off x="6647339" y="4319587"/>
              <a:ext cx="757237" cy="386715"/>
              <a:chOff x="6612254" y="2386965"/>
              <a:chExt cx="757237" cy="386715"/>
            </a:xfrm>
          </p:grpSpPr>
          <p:sp>
            <p:nvSpPr>
              <p:cNvPr id="40" name="任意多边形 213">
                <a:extLst>
                  <a:ext uri="{FF2B5EF4-FFF2-40B4-BE49-F238E27FC236}">
                    <a16:creationId xmlns:a16="http://schemas.microsoft.com/office/drawing/2014/main" id="{2C39F426-E0C4-8751-E940-E13DE8FC9F8C}"/>
                  </a:ext>
                </a:extLst>
              </p:cNvPr>
              <p:cNvSpPr/>
              <p:nvPr/>
            </p:nvSpPr>
            <p:spPr>
              <a:xfrm>
                <a:off x="6612254" y="2611754"/>
                <a:ext cx="181927" cy="160972"/>
              </a:xfrm>
              <a:custGeom>
                <a:avLst/>
                <a:gdLst>
                  <a:gd name="connsiteX0" fmla="*/ 181927 w 181927"/>
                  <a:gd name="connsiteY0" fmla="*/ 18098 h 160972"/>
                  <a:gd name="connsiteX1" fmla="*/ 178117 w 181927"/>
                  <a:gd name="connsiteY1" fmla="*/ 4763 h 160972"/>
                  <a:gd name="connsiteX2" fmla="*/ 147638 w 181927"/>
                  <a:gd name="connsiteY2" fmla="*/ 0 h 160972"/>
                  <a:gd name="connsiteX3" fmla="*/ 0 w 181927"/>
                  <a:gd name="connsiteY3" fmla="*/ 160973 h 160972"/>
                  <a:gd name="connsiteX4" fmla="*/ 87630 w 181927"/>
                  <a:gd name="connsiteY4" fmla="*/ 160973 h 160972"/>
                  <a:gd name="connsiteX5" fmla="*/ 181927 w 181927"/>
                  <a:gd name="connsiteY5" fmla="*/ 18098 h 160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1927" h="160972">
                    <a:moveTo>
                      <a:pt x="181927" y="18098"/>
                    </a:moveTo>
                    <a:cubicBezTo>
                      <a:pt x="180975" y="14288"/>
                      <a:pt x="179070" y="9525"/>
                      <a:pt x="178117" y="4763"/>
                    </a:cubicBezTo>
                    <a:cubicBezTo>
                      <a:pt x="168592" y="1905"/>
                      <a:pt x="158115" y="0"/>
                      <a:pt x="147638" y="0"/>
                    </a:cubicBezTo>
                    <a:cubicBezTo>
                      <a:pt x="79057" y="0"/>
                      <a:pt x="20002" y="67627"/>
                      <a:pt x="0" y="160973"/>
                    </a:cubicBezTo>
                    <a:lnTo>
                      <a:pt x="87630" y="160973"/>
                    </a:lnTo>
                    <a:cubicBezTo>
                      <a:pt x="112395" y="103823"/>
                      <a:pt x="144780" y="55245"/>
                      <a:pt x="181927" y="180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 214">
                <a:extLst>
                  <a:ext uri="{FF2B5EF4-FFF2-40B4-BE49-F238E27FC236}">
                    <a16:creationId xmlns:a16="http://schemas.microsoft.com/office/drawing/2014/main" id="{9DFBF52A-6B2D-A205-6294-4412F20E1D86}"/>
                  </a:ext>
                </a:extLst>
              </p:cNvPr>
              <p:cNvSpPr/>
              <p:nvPr/>
            </p:nvSpPr>
            <p:spPr>
              <a:xfrm>
                <a:off x="6781799" y="2386965"/>
                <a:ext cx="313372" cy="340994"/>
              </a:xfrm>
              <a:custGeom>
                <a:avLst/>
                <a:gdLst>
                  <a:gd name="connsiteX0" fmla="*/ 170497 w 313372"/>
                  <a:gd name="connsiteY0" fmla="*/ 262890 h 340994"/>
                  <a:gd name="connsiteX1" fmla="*/ 313372 w 313372"/>
                  <a:gd name="connsiteY1" fmla="*/ 131445 h 340994"/>
                  <a:gd name="connsiteX2" fmla="*/ 166688 w 313372"/>
                  <a:gd name="connsiteY2" fmla="*/ 0 h 340994"/>
                  <a:gd name="connsiteX3" fmla="*/ 0 w 313372"/>
                  <a:gd name="connsiteY3" fmla="*/ 250507 h 340994"/>
                  <a:gd name="connsiteX4" fmla="*/ 9525 w 313372"/>
                  <a:gd name="connsiteY4" fmla="*/ 327660 h 340994"/>
                  <a:gd name="connsiteX5" fmla="*/ 13335 w 313372"/>
                  <a:gd name="connsiteY5" fmla="*/ 340995 h 340994"/>
                  <a:gd name="connsiteX6" fmla="*/ 170497 w 313372"/>
                  <a:gd name="connsiteY6" fmla="*/ 262890 h 340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3372" h="340994">
                    <a:moveTo>
                      <a:pt x="170497" y="262890"/>
                    </a:moveTo>
                    <a:cubicBezTo>
                      <a:pt x="204788" y="195263"/>
                      <a:pt x="255270" y="147638"/>
                      <a:pt x="313372" y="131445"/>
                    </a:cubicBezTo>
                    <a:cubicBezTo>
                      <a:pt x="284797" y="53340"/>
                      <a:pt x="230505" y="0"/>
                      <a:pt x="166688" y="0"/>
                    </a:cubicBezTo>
                    <a:cubicBezTo>
                      <a:pt x="74295" y="0"/>
                      <a:pt x="0" y="112395"/>
                      <a:pt x="0" y="250507"/>
                    </a:cubicBezTo>
                    <a:cubicBezTo>
                      <a:pt x="0" y="279082"/>
                      <a:pt x="2857" y="304800"/>
                      <a:pt x="9525" y="327660"/>
                    </a:cubicBezTo>
                    <a:cubicBezTo>
                      <a:pt x="10478" y="332422"/>
                      <a:pt x="12382" y="336232"/>
                      <a:pt x="13335" y="340995"/>
                    </a:cubicBezTo>
                    <a:cubicBezTo>
                      <a:pt x="58103" y="295275"/>
                      <a:pt x="112395" y="267652"/>
                      <a:pt x="170497" y="262890"/>
                    </a:cubicBezTo>
                    <a:close/>
                  </a:path>
                </a:pathLst>
              </a:custGeom>
              <a:solidFill>
                <a:srgbClr val="3BA24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 215">
                <a:extLst>
                  <a:ext uri="{FF2B5EF4-FFF2-40B4-BE49-F238E27FC236}">
                    <a16:creationId xmlns:a16="http://schemas.microsoft.com/office/drawing/2014/main" id="{23BA41A5-9B3A-4FEE-4BE5-EB29A7282B2A}"/>
                  </a:ext>
                </a:extLst>
              </p:cNvPr>
              <p:cNvSpPr/>
              <p:nvPr/>
            </p:nvSpPr>
            <p:spPr>
              <a:xfrm>
                <a:off x="6952296" y="2413634"/>
                <a:ext cx="417195" cy="359092"/>
              </a:xfrm>
              <a:custGeom>
                <a:avLst/>
                <a:gdLst>
                  <a:gd name="connsiteX0" fmla="*/ 0 w 417195"/>
                  <a:gd name="connsiteY0" fmla="*/ 138113 h 359092"/>
                  <a:gd name="connsiteX1" fmla="*/ 18097 w 417195"/>
                  <a:gd name="connsiteY1" fmla="*/ 137160 h 359092"/>
                  <a:gd name="connsiteX2" fmla="*/ 287655 w 417195"/>
                  <a:gd name="connsiteY2" fmla="*/ 359093 h 359092"/>
                  <a:gd name="connsiteX3" fmla="*/ 417195 w 417195"/>
                  <a:gd name="connsiteY3" fmla="*/ 359093 h 359092"/>
                  <a:gd name="connsiteX4" fmla="*/ 417195 w 417195"/>
                  <a:gd name="connsiteY4" fmla="*/ 350520 h 359092"/>
                  <a:gd name="connsiteX5" fmla="*/ 184785 w 417195"/>
                  <a:gd name="connsiteY5" fmla="*/ 0 h 359092"/>
                  <a:gd name="connsiteX6" fmla="*/ 142875 w 417195"/>
                  <a:gd name="connsiteY6" fmla="*/ 5715 h 359092"/>
                  <a:gd name="connsiteX7" fmla="*/ 0 w 417195"/>
                  <a:gd name="connsiteY7" fmla="*/ 138113 h 359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195" h="359092">
                    <a:moveTo>
                      <a:pt x="0" y="138113"/>
                    </a:moveTo>
                    <a:cubicBezTo>
                      <a:pt x="5715" y="137160"/>
                      <a:pt x="11430" y="137160"/>
                      <a:pt x="18097" y="137160"/>
                    </a:cubicBezTo>
                    <a:cubicBezTo>
                      <a:pt x="131445" y="137160"/>
                      <a:pt x="230505" y="225743"/>
                      <a:pt x="287655" y="359093"/>
                    </a:cubicBezTo>
                    <a:lnTo>
                      <a:pt x="417195" y="359093"/>
                    </a:lnTo>
                    <a:cubicBezTo>
                      <a:pt x="417195" y="356235"/>
                      <a:pt x="417195" y="353378"/>
                      <a:pt x="417195" y="350520"/>
                    </a:cubicBezTo>
                    <a:cubicBezTo>
                      <a:pt x="417195" y="157163"/>
                      <a:pt x="313372" y="0"/>
                      <a:pt x="184785" y="0"/>
                    </a:cubicBezTo>
                    <a:cubicBezTo>
                      <a:pt x="170497" y="0"/>
                      <a:pt x="156210" y="1905"/>
                      <a:pt x="142875" y="5715"/>
                    </a:cubicBezTo>
                    <a:cubicBezTo>
                      <a:pt x="84772" y="22860"/>
                      <a:pt x="34290" y="70485"/>
                      <a:pt x="0" y="138113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 216">
                <a:extLst>
                  <a:ext uri="{FF2B5EF4-FFF2-40B4-BE49-F238E27FC236}">
                    <a16:creationId xmlns:a16="http://schemas.microsoft.com/office/drawing/2014/main" id="{95DB50E9-D970-8CB7-270A-96F5E64142C3}"/>
                  </a:ext>
                </a:extLst>
              </p:cNvPr>
              <p:cNvSpPr/>
              <p:nvPr/>
            </p:nvSpPr>
            <p:spPr>
              <a:xfrm>
                <a:off x="6699884" y="2550795"/>
                <a:ext cx="540067" cy="222885"/>
              </a:xfrm>
              <a:custGeom>
                <a:avLst/>
                <a:gdLst>
                  <a:gd name="connsiteX0" fmla="*/ 270510 w 540067"/>
                  <a:gd name="connsiteY0" fmla="*/ 0 h 222885"/>
                  <a:gd name="connsiteX1" fmla="*/ 252413 w 540067"/>
                  <a:gd name="connsiteY1" fmla="*/ 952 h 222885"/>
                  <a:gd name="connsiteX2" fmla="*/ 94297 w 540067"/>
                  <a:gd name="connsiteY2" fmla="*/ 79058 h 222885"/>
                  <a:gd name="connsiteX3" fmla="*/ 0 w 540067"/>
                  <a:gd name="connsiteY3" fmla="*/ 222885 h 222885"/>
                  <a:gd name="connsiteX4" fmla="*/ 540068 w 540067"/>
                  <a:gd name="connsiteY4" fmla="*/ 222885 h 222885"/>
                  <a:gd name="connsiteX5" fmla="*/ 270510 w 540067"/>
                  <a:gd name="connsiteY5" fmla="*/ 0 h 222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0067" h="222885">
                    <a:moveTo>
                      <a:pt x="270510" y="0"/>
                    </a:moveTo>
                    <a:cubicBezTo>
                      <a:pt x="264795" y="0"/>
                      <a:pt x="258128" y="0"/>
                      <a:pt x="252413" y="952"/>
                    </a:cubicBezTo>
                    <a:cubicBezTo>
                      <a:pt x="194310" y="5715"/>
                      <a:pt x="140970" y="34290"/>
                      <a:pt x="94297" y="79058"/>
                    </a:cubicBezTo>
                    <a:cubicBezTo>
                      <a:pt x="56197" y="116205"/>
                      <a:pt x="24765" y="164783"/>
                      <a:pt x="0" y="222885"/>
                    </a:cubicBezTo>
                    <a:lnTo>
                      <a:pt x="540068" y="222885"/>
                    </a:lnTo>
                    <a:cubicBezTo>
                      <a:pt x="482918" y="88583"/>
                      <a:pt x="383858" y="0"/>
                      <a:pt x="27051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B2927576-C79E-15D9-F1C1-DF194B25D333}"/>
                </a:ext>
              </a:extLst>
            </p:cNvPr>
            <p:cNvGrpSpPr/>
            <p:nvPr/>
          </p:nvGrpSpPr>
          <p:grpSpPr>
            <a:xfrm>
              <a:off x="8914289" y="4138612"/>
              <a:ext cx="578168" cy="567690"/>
              <a:chOff x="8879204" y="2205990"/>
              <a:chExt cx="578168" cy="567690"/>
            </a:xfrm>
          </p:grpSpPr>
          <p:grpSp>
            <p:nvGrpSpPr>
              <p:cNvPr id="28" name="组合 27">
                <a:extLst>
                  <a:ext uri="{FF2B5EF4-FFF2-40B4-BE49-F238E27FC236}">
                    <a16:creationId xmlns:a16="http://schemas.microsoft.com/office/drawing/2014/main" id="{BD5E33B3-093E-1B12-84D3-46FE2FF77C54}"/>
                  </a:ext>
                </a:extLst>
              </p:cNvPr>
              <p:cNvGrpSpPr/>
              <p:nvPr/>
            </p:nvGrpSpPr>
            <p:grpSpPr>
              <a:xfrm>
                <a:off x="8879204" y="2205990"/>
                <a:ext cx="342900" cy="567690"/>
                <a:chOff x="8879204" y="2205990"/>
                <a:chExt cx="342900" cy="567690"/>
              </a:xfrm>
            </p:grpSpPr>
            <p:sp>
              <p:nvSpPr>
                <p:cNvPr id="34" name="任意多边形 220">
                  <a:extLst>
                    <a:ext uri="{FF2B5EF4-FFF2-40B4-BE49-F238E27FC236}">
                      <a16:creationId xmlns:a16="http://schemas.microsoft.com/office/drawing/2014/main" id="{B9595805-7EC3-1A10-2501-2F9C3A2DB640}"/>
                    </a:ext>
                  </a:extLst>
                </p:cNvPr>
                <p:cNvSpPr/>
                <p:nvPr/>
              </p:nvSpPr>
              <p:spPr>
                <a:xfrm>
                  <a:off x="9023984" y="2238375"/>
                  <a:ext cx="60007" cy="535305"/>
                </a:xfrm>
                <a:custGeom>
                  <a:avLst/>
                  <a:gdLst>
                    <a:gd name="connsiteX0" fmla="*/ 60007 w 60007"/>
                    <a:gd name="connsiteY0" fmla="*/ 535305 h 535305"/>
                    <a:gd name="connsiteX1" fmla="*/ 0 w 60007"/>
                    <a:gd name="connsiteY1" fmla="*/ 535305 h 535305"/>
                    <a:gd name="connsiteX2" fmla="*/ 20955 w 60007"/>
                    <a:gd name="connsiteY2" fmla="*/ 0 h 535305"/>
                    <a:gd name="connsiteX3" fmla="*/ 39052 w 60007"/>
                    <a:gd name="connsiteY3" fmla="*/ 0 h 535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007" h="535305">
                      <a:moveTo>
                        <a:pt x="60007" y="535305"/>
                      </a:moveTo>
                      <a:lnTo>
                        <a:pt x="0" y="535305"/>
                      </a:lnTo>
                      <a:lnTo>
                        <a:pt x="20955" y="0"/>
                      </a:lnTo>
                      <a:lnTo>
                        <a:pt x="39052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35" name="组合 34">
                  <a:extLst>
                    <a:ext uri="{FF2B5EF4-FFF2-40B4-BE49-F238E27FC236}">
                      <a16:creationId xmlns:a16="http://schemas.microsoft.com/office/drawing/2014/main" id="{D316F56F-367E-52ED-CE06-997A1AC8AA04}"/>
                    </a:ext>
                  </a:extLst>
                </p:cNvPr>
                <p:cNvGrpSpPr/>
                <p:nvPr/>
              </p:nvGrpSpPr>
              <p:grpSpPr>
                <a:xfrm>
                  <a:off x="8879204" y="2205990"/>
                  <a:ext cx="342900" cy="567690"/>
                  <a:chOff x="8879204" y="2205990"/>
                  <a:chExt cx="342900" cy="567690"/>
                </a:xfrm>
              </p:grpSpPr>
              <p:sp>
                <p:nvSpPr>
                  <p:cNvPr id="36" name="任意多边形 222">
                    <a:extLst>
                      <a:ext uri="{FF2B5EF4-FFF2-40B4-BE49-F238E27FC236}">
                        <a16:creationId xmlns:a16="http://schemas.microsoft.com/office/drawing/2014/main" id="{7FA613C3-662C-FC6D-95F6-BDD0F5690753}"/>
                      </a:ext>
                    </a:extLst>
                  </p:cNvPr>
                  <p:cNvSpPr/>
                  <p:nvPr/>
                </p:nvSpPr>
                <p:spPr>
                  <a:xfrm>
                    <a:off x="8879204" y="2546984"/>
                    <a:ext cx="342900" cy="226695"/>
                  </a:xfrm>
                  <a:custGeom>
                    <a:avLst/>
                    <a:gdLst>
                      <a:gd name="connsiteX0" fmla="*/ 170497 w 342900"/>
                      <a:gd name="connsiteY0" fmla="*/ 0 h 226695"/>
                      <a:gd name="connsiteX1" fmla="*/ 0 w 342900"/>
                      <a:gd name="connsiteY1" fmla="*/ 226695 h 226695"/>
                      <a:gd name="connsiteX2" fmla="*/ 171450 w 342900"/>
                      <a:gd name="connsiteY2" fmla="*/ 226695 h 226695"/>
                      <a:gd name="connsiteX3" fmla="*/ 342900 w 342900"/>
                      <a:gd name="connsiteY3" fmla="*/ 226695 h 2266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42900" h="226695">
                        <a:moveTo>
                          <a:pt x="170497" y="0"/>
                        </a:moveTo>
                        <a:lnTo>
                          <a:pt x="0" y="226695"/>
                        </a:lnTo>
                        <a:lnTo>
                          <a:pt x="171450" y="226695"/>
                        </a:lnTo>
                        <a:lnTo>
                          <a:pt x="342900" y="226695"/>
                        </a:lnTo>
                        <a:close/>
                      </a:path>
                    </a:pathLst>
                  </a:custGeom>
                  <a:solidFill>
                    <a:srgbClr val="006738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7" name="任意多边形 223">
                    <a:extLst>
                      <a:ext uri="{FF2B5EF4-FFF2-40B4-BE49-F238E27FC236}">
                        <a16:creationId xmlns:a16="http://schemas.microsoft.com/office/drawing/2014/main" id="{2A2E2D1F-ABD0-8E83-23A7-B9188589FB79}"/>
                      </a:ext>
                    </a:extLst>
                  </p:cNvPr>
                  <p:cNvSpPr/>
                  <p:nvPr/>
                </p:nvSpPr>
                <p:spPr>
                  <a:xfrm>
                    <a:off x="8893492" y="2415540"/>
                    <a:ext cx="313372" cy="191452"/>
                  </a:xfrm>
                  <a:custGeom>
                    <a:avLst/>
                    <a:gdLst>
                      <a:gd name="connsiteX0" fmla="*/ 155257 w 313372"/>
                      <a:gd name="connsiteY0" fmla="*/ 0 h 191452"/>
                      <a:gd name="connsiteX1" fmla="*/ 0 w 313372"/>
                      <a:gd name="connsiteY1" fmla="*/ 191452 h 191452"/>
                      <a:gd name="connsiteX2" fmla="*/ 156210 w 313372"/>
                      <a:gd name="connsiteY2" fmla="*/ 191452 h 191452"/>
                      <a:gd name="connsiteX3" fmla="*/ 313372 w 313372"/>
                      <a:gd name="connsiteY3" fmla="*/ 191452 h 1914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13372" h="191452">
                        <a:moveTo>
                          <a:pt x="155257" y="0"/>
                        </a:moveTo>
                        <a:lnTo>
                          <a:pt x="0" y="191452"/>
                        </a:lnTo>
                        <a:lnTo>
                          <a:pt x="156210" y="191452"/>
                        </a:lnTo>
                        <a:lnTo>
                          <a:pt x="313372" y="191452"/>
                        </a:lnTo>
                        <a:close/>
                      </a:path>
                    </a:pathLst>
                  </a:custGeom>
                  <a:solidFill>
                    <a:srgbClr val="029344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8" name="任意多边形 224">
                    <a:extLst>
                      <a:ext uri="{FF2B5EF4-FFF2-40B4-BE49-F238E27FC236}">
                        <a16:creationId xmlns:a16="http://schemas.microsoft.com/office/drawing/2014/main" id="{86E5CAD6-D7EC-602E-A5AD-C7BB14D710F3}"/>
                      </a:ext>
                    </a:extLst>
                  </p:cNvPr>
                  <p:cNvSpPr/>
                  <p:nvPr/>
                </p:nvSpPr>
                <p:spPr>
                  <a:xfrm>
                    <a:off x="8904922" y="2303145"/>
                    <a:ext cx="288607" cy="163829"/>
                  </a:xfrm>
                  <a:custGeom>
                    <a:avLst/>
                    <a:gdLst>
                      <a:gd name="connsiteX0" fmla="*/ 143827 w 288607"/>
                      <a:gd name="connsiteY0" fmla="*/ 0 h 163829"/>
                      <a:gd name="connsiteX1" fmla="*/ 0 w 288607"/>
                      <a:gd name="connsiteY1" fmla="*/ 163830 h 163829"/>
                      <a:gd name="connsiteX2" fmla="*/ 144780 w 288607"/>
                      <a:gd name="connsiteY2" fmla="*/ 163830 h 163829"/>
                      <a:gd name="connsiteX3" fmla="*/ 288607 w 288607"/>
                      <a:gd name="connsiteY3" fmla="*/ 163830 h 1638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88607" h="163829">
                        <a:moveTo>
                          <a:pt x="143827" y="0"/>
                        </a:moveTo>
                        <a:lnTo>
                          <a:pt x="0" y="163830"/>
                        </a:lnTo>
                        <a:lnTo>
                          <a:pt x="144780" y="163830"/>
                        </a:lnTo>
                        <a:lnTo>
                          <a:pt x="288607" y="163830"/>
                        </a:lnTo>
                        <a:close/>
                      </a:path>
                    </a:pathLst>
                  </a:custGeom>
                  <a:solidFill>
                    <a:srgbClr val="6EB13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9" name="任意多边形 225">
                    <a:extLst>
                      <a:ext uri="{FF2B5EF4-FFF2-40B4-BE49-F238E27FC236}">
                        <a16:creationId xmlns:a16="http://schemas.microsoft.com/office/drawing/2014/main" id="{929E4F0E-6329-6865-1286-E411D3F6B75F}"/>
                      </a:ext>
                    </a:extLst>
                  </p:cNvPr>
                  <p:cNvSpPr/>
                  <p:nvPr/>
                </p:nvSpPr>
                <p:spPr>
                  <a:xfrm>
                    <a:off x="8915399" y="2205990"/>
                    <a:ext cx="266700" cy="140969"/>
                  </a:xfrm>
                  <a:custGeom>
                    <a:avLst/>
                    <a:gdLst>
                      <a:gd name="connsiteX0" fmla="*/ 132398 w 266700"/>
                      <a:gd name="connsiteY0" fmla="*/ 0 h 140969"/>
                      <a:gd name="connsiteX1" fmla="*/ 0 w 266700"/>
                      <a:gd name="connsiteY1" fmla="*/ 140970 h 140969"/>
                      <a:gd name="connsiteX2" fmla="*/ 133350 w 266700"/>
                      <a:gd name="connsiteY2" fmla="*/ 140970 h 140969"/>
                      <a:gd name="connsiteX3" fmla="*/ 266700 w 266700"/>
                      <a:gd name="connsiteY3" fmla="*/ 140970 h 1409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66700" h="140969">
                        <a:moveTo>
                          <a:pt x="132398" y="0"/>
                        </a:moveTo>
                        <a:lnTo>
                          <a:pt x="0" y="140970"/>
                        </a:lnTo>
                        <a:lnTo>
                          <a:pt x="133350" y="140970"/>
                        </a:lnTo>
                        <a:lnTo>
                          <a:pt x="266700" y="140970"/>
                        </a:lnTo>
                        <a:close/>
                      </a:path>
                    </a:pathLst>
                  </a:custGeom>
                  <a:solidFill>
                    <a:srgbClr val="92C33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29" name="组合 28">
                <a:extLst>
                  <a:ext uri="{FF2B5EF4-FFF2-40B4-BE49-F238E27FC236}">
                    <a16:creationId xmlns:a16="http://schemas.microsoft.com/office/drawing/2014/main" id="{8384E95C-64F4-B6CB-8E10-A984E5FFE330}"/>
                  </a:ext>
                </a:extLst>
              </p:cNvPr>
              <p:cNvGrpSpPr/>
              <p:nvPr/>
            </p:nvGrpSpPr>
            <p:grpSpPr>
              <a:xfrm>
                <a:off x="9019222" y="2615565"/>
                <a:ext cx="438150" cy="158115"/>
                <a:chOff x="9019222" y="2615565"/>
                <a:chExt cx="438150" cy="158115"/>
              </a:xfrm>
            </p:grpSpPr>
            <p:sp>
              <p:nvSpPr>
                <p:cNvPr id="30" name="任意多边形 228">
                  <a:extLst>
                    <a:ext uri="{FF2B5EF4-FFF2-40B4-BE49-F238E27FC236}">
                      <a16:creationId xmlns:a16="http://schemas.microsoft.com/office/drawing/2014/main" id="{9C65B786-81B0-C01D-17CF-133EA2D82661}"/>
                    </a:ext>
                  </a:extLst>
                </p:cNvPr>
                <p:cNvSpPr/>
                <p:nvPr/>
              </p:nvSpPr>
              <p:spPr>
                <a:xfrm>
                  <a:off x="9088754" y="2615565"/>
                  <a:ext cx="317182" cy="158115"/>
                </a:xfrm>
                <a:custGeom>
                  <a:avLst/>
                  <a:gdLst>
                    <a:gd name="connsiteX0" fmla="*/ 158115 w 317182"/>
                    <a:gd name="connsiteY0" fmla="*/ 0 h 158115"/>
                    <a:gd name="connsiteX1" fmla="*/ 0 w 317182"/>
                    <a:gd name="connsiteY1" fmla="*/ 158115 h 158115"/>
                    <a:gd name="connsiteX2" fmla="*/ 317182 w 317182"/>
                    <a:gd name="connsiteY2" fmla="*/ 158115 h 158115"/>
                    <a:gd name="connsiteX3" fmla="*/ 158115 w 317182"/>
                    <a:gd name="connsiteY3" fmla="*/ 0 h 1581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7182" h="158115">
                      <a:moveTo>
                        <a:pt x="158115" y="0"/>
                      </a:moveTo>
                      <a:cubicBezTo>
                        <a:pt x="70485" y="0"/>
                        <a:pt x="0" y="70485"/>
                        <a:pt x="0" y="158115"/>
                      </a:cubicBezTo>
                      <a:lnTo>
                        <a:pt x="317182" y="158115"/>
                      </a:lnTo>
                      <a:cubicBezTo>
                        <a:pt x="317182" y="70485"/>
                        <a:pt x="245745" y="0"/>
                        <a:pt x="158115" y="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1" name="任意多边形 229">
                  <a:extLst>
                    <a:ext uri="{FF2B5EF4-FFF2-40B4-BE49-F238E27FC236}">
                      <a16:creationId xmlns:a16="http://schemas.microsoft.com/office/drawing/2014/main" id="{D45EE1E4-C6BC-1911-8BBE-38831CDF6367}"/>
                    </a:ext>
                  </a:extLst>
                </p:cNvPr>
                <p:cNvSpPr/>
                <p:nvPr/>
              </p:nvSpPr>
              <p:spPr>
                <a:xfrm>
                  <a:off x="9019222" y="2677477"/>
                  <a:ext cx="190500" cy="95250"/>
                </a:xfrm>
                <a:custGeom>
                  <a:avLst/>
                  <a:gdLst>
                    <a:gd name="connsiteX0" fmla="*/ 95250 w 190500"/>
                    <a:gd name="connsiteY0" fmla="*/ 0 h 95250"/>
                    <a:gd name="connsiteX1" fmla="*/ 0 w 190500"/>
                    <a:gd name="connsiteY1" fmla="*/ 95250 h 95250"/>
                    <a:gd name="connsiteX2" fmla="*/ 190500 w 190500"/>
                    <a:gd name="connsiteY2" fmla="*/ 95250 h 95250"/>
                    <a:gd name="connsiteX3" fmla="*/ 95250 w 190500"/>
                    <a:gd name="connsiteY3" fmla="*/ 0 h 95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0500" h="95250">
                      <a:moveTo>
                        <a:pt x="95250" y="0"/>
                      </a:moveTo>
                      <a:cubicBezTo>
                        <a:pt x="42863" y="0"/>
                        <a:pt x="0" y="42863"/>
                        <a:pt x="0" y="95250"/>
                      </a:cubicBezTo>
                      <a:lnTo>
                        <a:pt x="190500" y="95250"/>
                      </a:lnTo>
                      <a:cubicBezTo>
                        <a:pt x="190500" y="42863"/>
                        <a:pt x="148590" y="0"/>
                        <a:pt x="95250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2" name="任意多边形 230">
                  <a:extLst>
                    <a:ext uri="{FF2B5EF4-FFF2-40B4-BE49-F238E27FC236}">
                      <a16:creationId xmlns:a16="http://schemas.microsoft.com/office/drawing/2014/main" id="{6C500A81-6349-3F37-785F-9F046C9DDEF7}"/>
                    </a:ext>
                  </a:extLst>
                </p:cNvPr>
                <p:cNvSpPr/>
                <p:nvPr/>
              </p:nvSpPr>
              <p:spPr>
                <a:xfrm>
                  <a:off x="9139237" y="2706052"/>
                  <a:ext cx="134324" cy="67627"/>
                </a:xfrm>
                <a:custGeom>
                  <a:avLst/>
                  <a:gdLst>
                    <a:gd name="connsiteX0" fmla="*/ 67627 w 134324"/>
                    <a:gd name="connsiteY0" fmla="*/ 0 h 67627"/>
                    <a:gd name="connsiteX1" fmla="*/ 0 w 134324"/>
                    <a:gd name="connsiteY1" fmla="*/ 67628 h 67627"/>
                    <a:gd name="connsiteX2" fmla="*/ 134302 w 134324"/>
                    <a:gd name="connsiteY2" fmla="*/ 67628 h 67627"/>
                    <a:gd name="connsiteX3" fmla="*/ 67627 w 134324"/>
                    <a:gd name="connsiteY3" fmla="*/ 0 h 67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4324" h="67627">
                      <a:moveTo>
                        <a:pt x="67627" y="0"/>
                      </a:moveTo>
                      <a:cubicBezTo>
                        <a:pt x="30480" y="0"/>
                        <a:pt x="0" y="30480"/>
                        <a:pt x="0" y="67628"/>
                      </a:cubicBezTo>
                      <a:lnTo>
                        <a:pt x="134302" y="67628"/>
                      </a:lnTo>
                      <a:cubicBezTo>
                        <a:pt x="135255" y="30480"/>
                        <a:pt x="104775" y="0"/>
                        <a:pt x="67627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3" name="任意多边形 231">
                  <a:extLst>
                    <a:ext uri="{FF2B5EF4-FFF2-40B4-BE49-F238E27FC236}">
                      <a16:creationId xmlns:a16="http://schemas.microsoft.com/office/drawing/2014/main" id="{36E87A51-9594-9719-AE73-F8D687BA5AB3}"/>
                    </a:ext>
                  </a:extLst>
                </p:cNvPr>
                <p:cNvSpPr/>
                <p:nvPr/>
              </p:nvSpPr>
              <p:spPr>
                <a:xfrm>
                  <a:off x="9332594" y="2710815"/>
                  <a:ext cx="124777" cy="62865"/>
                </a:xfrm>
                <a:custGeom>
                  <a:avLst/>
                  <a:gdLst>
                    <a:gd name="connsiteX0" fmla="*/ 62865 w 124777"/>
                    <a:gd name="connsiteY0" fmla="*/ 0 h 62865"/>
                    <a:gd name="connsiteX1" fmla="*/ 0 w 124777"/>
                    <a:gd name="connsiteY1" fmla="*/ 62865 h 62865"/>
                    <a:gd name="connsiteX2" fmla="*/ 124778 w 124777"/>
                    <a:gd name="connsiteY2" fmla="*/ 62865 h 62865"/>
                    <a:gd name="connsiteX3" fmla="*/ 62865 w 124777"/>
                    <a:gd name="connsiteY3" fmla="*/ 0 h 62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4777" h="62865">
                      <a:moveTo>
                        <a:pt x="62865" y="0"/>
                      </a:moveTo>
                      <a:cubicBezTo>
                        <a:pt x="28575" y="0"/>
                        <a:pt x="0" y="27622"/>
                        <a:pt x="0" y="62865"/>
                      </a:cubicBezTo>
                      <a:lnTo>
                        <a:pt x="124778" y="62865"/>
                      </a:lnTo>
                      <a:cubicBezTo>
                        <a:pt x="124778" y="27622"/>
                        <a:pt x="97155" y="0"/>
                        <a:pt x="62865" y="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E5E2B812-7619-37AF-79D1-7285E1376834}"/>
                </a:ext>
              </a:extLst>
            </p:cNvPr>
            <p:cNvGrpSpPr/>
            <p:nvPr/>
          </p:nvGrpSpPr>
          <p:grpSpPr>
            <a:xfrm>
              <a:off x="2772569" y="4065269"/>
              <a:ext cx="704850" cy="641032"/>
              <a:chOff x="2737484" y="2132647"/>
              <a:chExt cx="704850" cy="641032"/>
            </a:xfrm>
          </p:grpSpPr>
          <p:sp>
            <p:nvSpPr>
              <p:cNvPr id="15" name="任意多边形 233">
                <a:extLst>
                  <a:ext uri="{FF2B5EF4-FFF2-40B4-BE49-F238E27FC236}">
                    <a16:creationId xmlns:a16="http://schemas.microsoft.com/office/drawing/2014/main" id="{2AEFBDD8-2A22-80AD-DACF-47ACC4AF8329}"/>
                  </a:ext>
                </a:extLst>
              </p:cNvPr>
              <p:cNvSpPr/>
              <p:nvPr/>
            </p:nvSpPr>
            <p:spPr>
              <a:xfrm>
                <a:off x="2987992" y="2646045"/>
                <a:ext cx="340058" cy="127635"/>
              </a:xfrm>
              <a:custGeom>
                <a:avLst/>
                <a:gdLst>
                  <a:gd name="connsiteX0" fmla="*/ 250508 w 340058"/>
                  <a:gd name="connsiteY0" fmla="*/ 37148 h 127635"/>
                  <a:gd name="connsiteX1" fmla="*/ 221933 w 340058"/>
                  <a:gd name="connsiteY1" fmla="*/ 41910 h 127635"/>
                  <a:gd name="connsiteX2" fmla="*/ 127635 w 340058"/>
                  <a:gd name="connsiteY2" fmla="*/ 0 h 127635"/>
                  <a:gd name="connsiteX3" fmla="*/ 0 w 340058"/>
                  <a:gd name="connsiteY3" fmla="*/ 127635 h 127635"/>
                  <a:gd name="connsiteX4" fmla="*/ 160020 w 340058"/>
                  <a:gd name="connsiteY4" fmla="*/ 127635 h 127635"/>
                  <a:gd name="connsiteX5" fmla="*/ 254318 w 340058"/>
                  <a:gd name="connsiteY5" fmla="*/ 127635 h 127635"/>
                  <a:gd name="connsiteX6" fmla="*/ 340043 w 340058"/>
                  <a:gd name="connsiteY6" fmla="*/ 127635 h 127635"/>
                  <a:gd name="connsiteX7" fmla="*/ 250508 w 340058"/>
                  <a:gd name="connsiteY7" fmla="*/ 37148 h 127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0058" h="127635">
                    <a:moveTo>
                      <a:pt x="250508" y="37148"/>
                    </a:moveTo>
                    <a:cubicBezTo>
                      <a:pt x="240030" y="37148"/>
                      <a:pt x="230505" y="39052"/>
                      <a:pt x="221933" y="41910"/>
                    </a:cubicBezTo>
                    <a:cubicBezTo>
                      <a:pt x="198120" y="16192"/>
                      <a:pt x="164783" y="0"/>
                      <a:pt x="127635" y="0"/>
                    </a:cubicBezTo>
                    <a:cubicBezTo>
                      <a:pt x="57150" y="0"/>
                      <a:pt x="0" y="57150"/>
                      <a:pt x="0" y="127635"/>
                    </a:cubicBezTo>
                    <a:lnTo>
                      <a:pt x="160020" y="127635"/>
                    </a:lnTo>
                    <a:lnTo>
                      <a:pt x="254318" y="127635"/>
                    </a:lnTo>
                    <a:lnTo>
                      <a:pt x="340043" y="127635"/>
                    </a:lnTo>
                    <a:cubicBezTo>
                      <a:pt x="340995" y="77152"/>
                      <a:pt x="300038" y="37148"/>
                      <a:pt x="250508" y="37148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6" name="组合 15">
                <a:extLst>
                  <a:ext uri="{FF2B5EF4-FFF2-40B4-BE49-F238E27FC236}">
                    <a16:creationId xmlns:a16="http://schemas.microsoft.com/office/drawing/2014/main" id="{1BF61F80-8A36-21B3-E643-C2004BBBABC8}"/>
                  </a:ext>
                </a:extLst>
              </p:cNvPr>
              <p:cNvGrpSpPr/>
              <p:nvPr/>
            </p:nvGrpSpPr>
            <p:grpSpPr>
              <a:xfrm>
                <a:off x="2737484" y="2132647"/>
                <a:ext cx="704850" cy="640080"/>
                <a:chOff x="2737484" y="2132647"/>
                <a:chExt cx="704850" cy="640080"/>
              </a:xfrm>
            </p:grpSpPr>
            <p:sp>
              <p:nvSpPr>
                <p:cNvPr id="18" name="任意多边形 235">
                  <a:extLst>
                    <a:ext uri="{FF2B5EF4-FFF2-40B4-BE49-F238E27FC236}">
                      <a16:creationId xmlns:a16="http://schemas.microsoft.com/office/drawing/2014/main" id="{0DC3BED3-1C96-CD1A-2101-8802DD24526A}"/>
                    </a:ext>
                  </a:extLst>
                </p:cNvPr>
                <p:cNvSpPr/>
                <p:nvPr/>
              </p:nvSpPr>
              <p:spPr>
                <a:xfrm>
                  <a:off x="3063239" y="2425065"/>
                  <a:ext cx="49530" cy="347662"/>
                </a:xfrm>
                <a:custGeom>
                  <a:avLst/>
                  <a:gdLst>
                    <a:gd name="connsiteX0" fmla="*/ 0 w 49530"/>
                    <a:gd name="connsiteY0" fmla="*/ 347663 h 347662"/>
                    <a:gd name="connsiteX1" fmla="*/ 49530 w 49530"/>
                    <a:gd name="connsiteY1" fmla="*/ 347663 h 347662"/>
                    <a:gd name="connsiteX2" fmla="*/ 43815 w 49530"/>
                    <a:gd name="connsiteY2" fmla="*/ 0 h 347662"/>
                    <a:gd name="connsiteX3" fmla="*/ 8573 w 49530"/>
                    <a:gd name="connsiteY3" fmla="*/ 0 h 347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9530" h="347662">
                      <a:moveTo>
                        <a:pt x="0" y="347663"/>
                      </a:moveTo>
                      <a:lnTo>
                        <a:pt x="49530" y="347663"/>
                      </a:lnTo>
                      <a:lnTo>
                        <a:pt x="43815" y="0"/>
                      </a:lnTo>
                      <a:lnTo>
                        <a:pt x="8573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" name="任意多边形 236">
                  <a:extLst>
                    <a:ext uri="{FF2B5EF4-FFF2-40B4-BE49-F238E27FC236}">
                      <a16:creationId xmlns:a16="http://schemas.microsoft.com/office/drawing/2014/main" id="{8628C098-A99E-FAA5-9416-2B51A945DC60}"/>
                    </a:ext>
                  </a:extLst>
                </p:cNvPr>
                <p:cNvSpPr/>
                <p:nvPr/>
              </p:nvSpPr>
              <p:spPr>
                <a:xfrm>
                  <a:off x="3097529" y="2373629"/>
                  <a:ext cx="150866" cy="200025"/>
                </a:xfrm>
                <a:custGeom>
                  <a:avLst/>
                  <a:gdLst>
                    <a:gd name="connsiteX0" fmla="*/ 952 w 150866"/>
                    <a:gd name="connsiteY0" fmla="*/ 158115 h 200025"/>
                    <a:gd name="connsiteX1" fmla="*/ 110490 w 150866"/>
                    <a:gd name="connsiteY1" fmla="*/ 0 h 200025"/>
                    <a:gd name="connsiteX2" fmla="*/ 149543 w 150866"/>
                    <a:gd name="connsiteY2" fmla="*/ 6667 h 200025"/>
                    <a:gd name="connsiteX3" fmla="*/ 0 w 150866"/>
                    <a:gd name="connsiteY3" fmla="*/ 200025 h 200025"/>
                    <a:gd name="connsiteX4" fmla="*/ 952 w 150866"/>
                    <a:gd name="connsiteY4" fmla="*/ 158115 h 200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66" h="200025">
                      <a:moveTo>
                        <a:pt x="952" y="158115"/>
                      </a:moveTo>
                      <a:cubicBezTo>
                        <a:pt x="952" y="158115"/>
                        <a:pt x="152400" y="141923"/>
                        <a:pt x="110490" y="0"/>
                      </a:cubicBezTo>
                      <a:lnTo>
                        <a:pt x="149543" y="6667"/>
                      </a:lnTo>
                      <a:cubicBezTo>
                        <a:pt x="149543" y="6667"/>
                        <a:pt x="175260" y="144780"/>
                        <a:pt x="0" y="200025"/>
                      </a:cubicBezTo>
                      <a:lnTo>
                        <a:pt x="952" y="158115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" name="任意多边形 237">
                  <a:extLst>
                    <a:ext uri="{FF2B5EF4-FFF2-40B4-BE49-F238E27FC236}">
                      <a16:creationId xmlns:a16="http://schemas.microsoft.com/office/drawing/2014/main" id="{90972145-609A-815A-448C-CB077C21E62F}"/>
                    </a:ext>
                  </a:extLst>
                </p:cNvPr>
                <p:cNvSpPr/>
                <p:nvPr/>
              </p:nvSpPr>
              <p:spPr>
                <a:xfrm>
                  <a:off x="2968935" y="2326957"/>
                  <a:ext cx="120973" cy="156209"/>
                </a:xfrm>
                <a:custGeom>
                  <a:avLst/>
                  <a:gdLst>
                    <a:gd name="connsiteX0" fmla="*/ 30486 w 120973"/>
                    <a:gd name="connsiteY0" fmla="*/ 10477 h 156209"/>
                    <a:gd name="connsiteX1" fmla="*/ 120974 w 120973"/>
                    <a:gd name="connsiteY1" fmla="*/ 128588 h 156209"/>
                    <a:gd name="connsiteX2" fmla="*/ 106686 w 120973"/>
                    <a:gd name="connsiteY2" fmla="*/ 156210 h 156209"/>
                    <a:gd name="connsiteX3" fmla="*/ 6 w 120973"/>
                    <a:gd name="connsiteY3" fmla="*/ 0 h 156209"/>
                    <a:gd name="connsiteX4" fmla="*/ 30486 w 120973"/>
                    <a:gd name="connsiteY4" fmla="*/ 10477 h 156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0973" h="156209">
                      <a:moveTo>
                        <a:pt x="30486" y="10477"/>
                      </a:moveTo>
                      <a:cubicBezTo>
                        <a:pt x="30486" y="10477"/>
                        <a:pt x="5721" y="125730"/>
                        <a:pt x="120974" y="128588"/>
                      </a:cubicBezTo>
                      <a:lnTo>
                        <a:pt x="106686" y="156210"/>
                      </a:lnTo>
                      <a:cubicBezTo>
                        <a:pt x="106686" y="156210"/>
                        <a:pt x="-946" y="141922"/>
                        <a:pt x="6" y="0"/>
                      </a:cubicBezTo>
                      <a:lnTo>
                        <a:pt x="30486" y="10477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" name="任意多边形 238">
                  <a:extLst>
                    <a:ext uri="{FF2B5EF4-FFF2-40B4-BE49-F238E27FC236}">
                      <a16:creationId xmlns:a16="http://schemas.microsoft.com/office/drawing/2014/main" id="{2B458856-4A06-4886-E661-89A3261FBE3E}"/>
                    </a:ext>
                  </a:extLst>
                </p:cNvPr>
                <p:cNvSpPr/>
                <p:nvPr/>
              </p:nvSpPr>
              <p:spPr>
                <a:xfrm>
                  <a:off x="2832734" y="2346959"/>
                  <a:ext cx="167640" cy="97818"/>
                </a:xfrm>
                <a:custGeom>
                  <a:avLst/>
                  <a:gdLst>
                    <a:gd name="connsiteX0" fmla="*/ 32385 w 167640"/>
                    <a:gd name="connsiteY0" fmla="*/ 0 h 97818"/>
                    <a:gd name="connsiteX1" fmla="*/ 167640 w 167640"/>
                    <a:gd name="connsiteY1" fmla="*/ 61913 h 97818"/>
                    <a:gd name="connsiteX2" fmla="*/ 167640 w 167640"/>
                    <a:gd name="connsiteY2" fmla="*/ 92393 h 97818"/>
                    <a:gd name="connsiteX3" fmla="*/ 0 w 167640"/>
                    <a:gd name="connsiteY3" fmla="*/ 4763 h 97818"/>
                    <a:gd name="connsiteX4" fmla="*/ 32385 w 167640"/>
                    <a:gd name="connsiteY4" fmla="*/ 0 h 97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97818">
                      <a:moveTo>
                        <a:pt x="32385" y="0"/>
                      </a:moveTo>
                      <a:cubicBezTo>
                        <a:pt x="32385" y="0"/>
                        <a:pt x="64770" y="112395"/>
                        <a:pt x="167640" y="61913"/>
                      </a:cubicBezTo>
                      <a:lnTo>
                        <a:pt x="167640" y="92393"/>
                      </a:lnTo>
                      <a:cubicBezTo>
                        <a:pt x="167640" y="92393"/>
                        <a:pt x="65723" y="130493"/>
                        <a:pt x="0" y="4763"/>
                      </a:cubicBezTo>
                      <a:lnTo>
                        <a:pt x="32385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" name="任意多边形 239">
                  <a:extLst>
                    <a:ext uri="{FF2B5EF4-FFF2-40B4-BE49-F238E27FC236}">
                      <a16:creationId xmlns:a16="http://schemas.microsoft.com/office/drawing/2014/main" id="{EFA5414F-3A8D-D51A-5A7C-C091C479DFC4}"/>
                    </a:ext>
                  </a:extLst>
                </p:cNvPr>
                <p:cNvSpPr/>
                <p:nvPr/>
              </p:nvSpPr>
              <p:spPr>
                <a:xfrm>
                  <a:off x="3191826" y="2437447"/>
                  <a:ext cx="179070" cy="91847"/>
                </a:xfrm>
                <a:custGeom>
                  <a:avLst/>
                  <a:gdLst>
                    <a:gd name="connsiteX0" fmla="*/ 18098 w 179070"/>
                    <a:gd name="connsiteY0" fmla="*/ 56198 h 91847"/>
                    <a:gd name="connsiteX1" fmla="*/ 156210 w 179070"/>
                    <a:gd name="connsiteY1" fmla="*/ 0 h 91847"/>
                    <a:gd name="connsiteX2" fmla="*/ 179070 w 179070"/>
                    <a:gd name="connsiteY2" fmla="*/ 20955 h 91847"/>
                    <a:gd name="connsiteX3" fmla="*/ 0 w 179070"/>
                    <a:gd name="connsiteY3" fmla="*/ 82868 h 91847"/>
                    <a:gd name="connsiteX4" fmla="*/ 18098 w 179070"/>
                    <a:gd name="connsiteY4" fmla="*/ 56198 h 91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9070" h="91847">
                      <a:moveTo>
                        <a:pt x="18098" y="56198"/>
                      </a:moveTo>
                      <a:cubicBezTo>
                        <a:pt x="18098" y="56198"/>
                        <a:pt x="122873" y="109538"/>
                        <a:pt x="156210" y="0"/>
                      </a:cubicBezTo>
                      <a:lnTo>
                        <a:pt x="179070" y="20955"/>
                      </a:lnTo>
                      <a:cubicBezTo>
                        <a:pt x="179070" y="20955"/>
                        <a:pt x="137160" y="121920"/>
                        <a:pt x="0" y="82868"/>
                      </a:cubicBezTo>
                      <a:lnTo>
                        <a:pt x="18098" y="56198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" name="任意多边形 240">
                  <a:extLst>
                    <a:ext uri="{FF2B5EF4-FFF2-40B4-BE49-F238E27FC236}">
                      <a16:creationId xmlns:a16="http://schemas.microsoft.com/office/drawing/2014/main" id="{B8A32BF2-7D7D-0E09-705A-80A1C70C85B4}"/>
                    </a:ext>
                  </a:extLst>
                </p:cNvPr>
                <p:cNvSpPr/>
                <p:nvPr/>
              </p:nvSpPr>
              <p:spPr>
                <a:xfrm>
                  <a:off x="2895599" y="2154554"/>
                  <a:ext cx="180975" cy="215265"/>
                </a:xfrm>
                <a:custGeom>
                  <a:avLst/>
                  <a:gdLst>
                    <a:gd name="connsiteX0" fmla="*/ 180975 w 180975"/>
                    <a:gd name="connsiteY0" fmla="*/ 119063 h 215265"/>
                    <a:gd name="connsiteX1" fmla="*/ 90488 w 180975"/>
                    <a:gd name="connsiteY1" fmla="*/ 215265 h 215265"/>
                    <a:gd name="connsiteX2" fmla="*/ 0 w 180975"/>
                    <a:gd name="connsiteY2" fmla="*/ 119063 h 215265"/>
                    <a:gd name="connsiteX3" fmla="*/ 90488 w 180975"/>
                    <a:gd name="connsiteY3" fmla="*/ 0 h 215265"/>
                    <a:gd name="connsiteX4" fmla="*/ 180975 w 180975"/>
                    <a:gd name="connsiteY4" fmla="*/ 119063 h 215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975" h="215265">
                      <a:moveTo>
                        <a:pt x="180975" y="119063"/>
                      </a:moveTo>
                      <a:cubicBezTo>
                        <a:pt x="180975" y="184785"/>
                        <a:pt x="140970" y="215265"/>
                        <a:pt x="90488" y="215265"/>
                      </a:cubicBezTo>
                      <a:cubicBezTo>
                        <a:pt x="40957" y="215265"/>
                        <a:pt x="0" y="184785"/>
                        <a:pt x="0" y="119063"/>
                      </a:cubicBezTo>
                      <a:cubicBezTo>
                        <a:pt x="0" y="53340"/>
                        <a:pt x="40005" y="0"/>
                        <a:pt x="90488" y="0"/>
                      </a:cubicBezTo>
                      <a:cubicBezTo>
                        <a:pt x="140018" y="0"/>
                        <a:pt x="180975" y="53340"/>
                        <a:pt x="180975" y="11906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" name="任意多边形 241">
                  <a:extLst>
                    <a:ext uri="{FF2B5EF4-FFF2-40B4-BE49-F238E27FC236}">
                      <a16:creationId xmlns:a16="http://schemas.microsoft.com/office/drawing/2014/main" id="{C231C7FB-A016-0C6A-7A05-8E3BD507B5FB}"/>
                    </a:ext>
                  </a:extLst>
                </p:cNvPr>
                <p:cNvSpPr/>
                <p:nvPr/>
              </p:nvSpPr>
              <p:spPr>
                <a:xfrm>
                  <a:off x="2737484" y="2132647"/>
                  <a:ext cx="217170" cy="259080"/>
                </a:xfrm>
                <a:custGeom>
                  <a:avLst/>
                  <a:gdLst>
                    <a:gd name="connsiteX0" fmla="*/ 217170 w 217170"/>
                    <a:gd name="connsiteY0" fmla="*/ 142875 h 259080"/>
                    <a:gd name="connsiteX1" fmla="*/ 108585 w 217170"/>
                    <a:gd name="connsiteY1" fmla="*/ 259080 h 259080"/>
                    <a:gd name="connsiteX2" fmla="*/ 0 w 217170"/>
                    <a:gd name="connsiteY2" fmla="*/ 142875 h 259080"/>
                    <a:gd name="connsiteX3" fmla="*/ 108585 w 217170"/>
                    <a:gd name="connsiteY3" fmla="*/ 0 h 259080"/>
                    <a:gd name="connsiteX4" fmla="*/ 217170 w 217170"/>
                    <a:gd name="connsiteY4" fmla="*/ 142875 h 259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70" h="259080">
                      <a:moveTo>
                        <a:pt x="217170" y="142875"/>
                      </a:moveTo>
                      <a:cubicBezTo>
                        <a:pt x="217170" y="221933"/>
                        <a:pt x="168593" y="259080"/>
                        <a:pt x="108585" y="259080"/>
                      </a:cubicBezTo>
                      <a:cubicBezTo>
                        <a:pt x="48578" y="259080"/>
                        <a:pt x="0" y="222885"/>
                        <a:pt x="0" y="142875"/>
                      </a:cubicBezTo>
                      <a:cubicBezTo>
                        <a:pt x="0" y="63818"/>
                        <a:pt x="48578" y="0"/>
                        <a:pt x="108585" y="0"/>
                      </a:cubicBezTo>
                      <a:cubicBezTo>
                        <a:pt x="168593" y="0"/>
                        <a:pt x="217170" y="63818"/>
                        <a:pt x="217170" y="142875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5" name="任意多边形 242">
                  <a:extLst>
                    <a:ext uri="{FF2B5EF4-FFF2-40B4-BE49-F238E27FC236}">
                      <a16:creationId xmlns:a16="http://schemas.microsoft.com/office/drawing/2014/main" id="{516B6B45-BC30-325E-96E3-A73F0D8DE9A6}"/>
                    </a:ext>
                  </a:extLst>
                </p:cNvPr>
                <p:cNvSpPr/>
                <p:nvPr/>
              </p:nvSpPr>
              <p:spPr>
                <a:xfrm>
                  <a:off x="3108959" y="2200275"/>
                  <a:ext cx="217169" cy="218122"/>
                </a:xfrm>
                <a:custGeom>
                  <a:avLst/>
                  <a:gdLst>
                    <a:gd name="connsiteX0" fmla="*/ 217170 w 217169"/>
                    <a:gd name="connsiteY0" fmla="*/ 120967 h 218122"/>
                    <a:gd name="connsiteX1" fmla="*/ 108585 w 217169"/>
                    <a:gd name="connsiteY1" fmla="*/ 218122 h 218122"/>
                    <a:gd name="connsiteX2" fmla="*/ 0 w 217169"/>
                    <a:gd name="connsiteY2" fmla="*/ 120967 h 218122"/>
                    <a:gd name="connsiteX3" fmla="*/ 108585 w 217169"/>
                    <a:gd name="connsiteY3" fmla="*/ 0 h 218122"/>
                    <a:gd name="connsiteX4" fmla="*/ 217170 w 217169"/>
                    <a:gd name="connsiteY4" fmla="*/ 120967 h 218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69" h="218122">
                      <a:moveTo>
                        <a:pt x="217170" y="120967"/>
                      </a:moveTo>
                      <a:cubicBezTo>
                        <a:pt x="217170" y="187642"/>
                        <a:pt x="168592" y="218122"/>
                        <a:pt x="108585" y="218122"/>
                      </a:cubicBezTo>
                      <a:cubicBezTo>
                        <a:pt x="48577" y="218122"/>
                        <a:pt x="0" y="187642"/>
                        <a:pt x="0" y="120967"/>
                      </a:cubicBezTo>
                      <a:cubicBezTo>
                        <a:pt x="0" y="54292"/>
                        <a:pt x="48577" y="0"/>
                        <a:pt x="108585" y="0"/>
                      </a:cubicBezTo>
                      <a:cubicBezTo>
                        <a:pt x="168592" y="0"/>
                        <a:pt x="217170" y="54292"/>
                        <a:pt x="217170" y="120967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6" name="任意多边形 243">
                  <a:extLst>
                    <a:ext uri="{FF2B5EF4-FFF2-40B4-BE49-F238E27FC236}">
                      <a16:creationId xmlns:a16="http://schemas.microsoft.com/office/drawing/2014/main" id="{B11CA1F0-259E-C01B-F82B-C53C01ED3AC8}"/>
                    </a:ext>
                  </a:extLst>
                </p:cNvPr>
                <p:cNvSpPr/>
                <p:nvPr/>
              </p:nvSpPr>
              <p:spPr>
                <a:xfrm>
                  <a:off x="3016567" y="2297429"/>
                  <a:ext cx="142875" cy="144779"/>
                </a:xfrm>
                <a:custGeom>
                  <a:avLst/>
                  <a:gdLst>
                    <a:gd name="connsiteX0" fmla="*/ 142875 w 142875"/>
                    <a:gd name="connsiteY0" fmla="*/ 80010 h 144779"/>
                    <a:gd name="connsiteX1" fmla="*/ 71438 w 142875"/>
                    <a:gd name="connsiteY1" fmla="*/ 144780 h 144779"/>
                    <a:gd name="connsiteX2" fmla="*/ 0 w 142875"/>
                    <a:gd name="connsiteY2" fmla="*/ 80010 h 144779"/>
                    <a:gd name="connsiteX3" fmla="*/ 71438 w 142875"/>
                    <a:gd name="connsiteY3" fmla="*/ 0 h 144779"/>
                    <a:gd name="connsiteX4" fmla="*/ 142875 w 142875"/>
                    <a:gd name="connsiteY4" fmla="*/ 80010 h 144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875" h="144779">
                      <a:moveTo>
                        <a:pt x="142875" y="80010"/>
                      </a:moveTo>
                      <a:cubicBezTo>
                        <a:pt x="142875" y="123825"/>
                        <a:pt x="110490" y="144780"/>
                        <a:pt x="71438" y="144780"/>
                      </a:cubicBezTo>
                      <a:cubicBezTo>
                        <a:pt x="31432" y="144780"/>
                        <a:pt x="0" y="124778"/>
                        <a:pt x="0" y="80010"/>
                      </a:cubicBezTo>
                      <a:cubicBezTo>
                        <a:pt x="0" y="36195"/>
                        <a:pt x="32385" y="0"/>
                        <a:pt x="71438" y="0"/>
                      </a:cubicBezTo>
                      <a:cubicBezTo>
                        <a:pt x="110490" y="0"/>
                        <a:pt x="142875" y="36195"/>
                        <a:pt x="142875" y="8001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7" name="任意多边形 244">
                  <a:extLst>
                    <a:ext uri="{FF2B5EF4-FFF2-40B4-BE49-F238E27FC236}">
                      <a16:creationId xmlns:a16="http://schemas.microsoft.com/office/drawing/2014/main" id="{586CF587-9D97-4255-DA4C-B38AAB58227C}"/>
                    </a:ext>
                  </a:extLst>
                </p:cNvPr>
                <p:cNvSpPr/>
                <p:nvPr/>
              </p:nvSpPr>
              <p:spPr>
                <a:xfrm>
                  <a:off x="3274694" y="2323147"/>
                  <a:ext cx="167640" cy="167640"/>
                </a:xfrm>
                <a:custGeom>
                  <a:avLst/>
                  <a:gdLst>
                    <a:gd name="connsiteX0" fmla="*/ 167640 w 167640"/>
                    <a:gd name="connsiteY0" fmla="*/ 92393 h 167640"/>
                    <a:gd name="connsiteX1" fmla="*/ 83820 w 167640"/>
                    <a:gd name="connsiteY1" fmla="*/ 167640 h 167640"/>
                    <a:gd name="connsiteX2" fmla="*/ 0 w 167640"/>
                    <a:gd name="connsiteY2" fmla="*/ 92393 h 167640"/>
                    <a:gd name="connsiteX3" fmla="*/ 83820 w 167640"/>
                    <a:gd name="connsiteY3" fmla="*/ 0 h 167640"/>
                    <a:gd name="connsiteX4" fmla="*/ 167640 w 167640"/>
                    <a:gd name="connsiteY4" fmla="*/ 92393 h 1676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167640">
                      <a:moveTo>
                        <a:pt x="167640" y="92393"/>
                      </a:moveTo>
                      <a:cubicBezTo>
                        <a:pt x="167640" y="143828"/>
                        <a:pt x="130493" y="167640"/>
                        <a:pt x="83820" y="167640"/>
                      </a:cubicBezTo>
                      <a:cubicBezTo>
                        <a:pt x="38100" y="167640"/>
                        <a:pt x="0" y="143828"/>
                        <a:pt x="0" y="92393"/>
                      </a:cubicBezTo>
                      <a:cubicBezTo>
                        <a:pt x="0" y="40958"/>
                        <a:pt x="37148" y="0"/>
                        <a:pt x="83820" y="0"/>
                      </a:cubicBezTo>
                      <a:cubicBezTo>
                        <a:pt x="129540" y="0"/>
                        <a:pt x="167640" y="40958"/>
                        <a:pt x="167640" y="9239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7" name="任意多边形 245">
                <a:extLst>
                  <a:ext uri="{FF2B5EF4-FFF2-40B4-BE49-F238E27FC236}">
                    <a16:creationId xmlns:a16="http://schemas.microsoft.com/office/drawing/2014/main" id="{AB751308-8BC0-4377-BDE8-3F3FEBA2D368}"/>
                  </a:ext>
                </a:extLst>
              </p:cNvPr>
              <p:cNvSpPr/>
              <p:nvPr/>
            </p:nvSpPr>
            <p:spPr>
              <a:xfrm>
                <a:off x="2830829" y="2681287"/>
                <a:ext cx="247650" cy="92392"/>
              </a:xfrm>
              <a:custGeom>
                <a:avLst/>
                <a:gdLst>
                  <a:gd name="connsiteX0" fmla="*/ 65723 w 247650"/>
                  <a:gd name="connsiteY0" fmla="*/ 26670 h 92392"/>
                  <a:gd name="connsiteX1" fmla="*/ 86677 w 247650"/>
                  <a:gd name="connsiteY1" fmla="*/ 30480 h 92392"/>
                  <a:gd name="connsiteX2" fmla="*/ 155258 w 247650"/>
                  <a:gd name="connsiteY2" fmla="*/ 0 h 92392"/>
                  <a:gd name="connsiteX3" fmla="*/ 247650 w 247650"/>
                  <a:gd name="connsiteY3" fmla="*/ 92393 h 92392"/>
                  <a:gd name="connsiteX4" fmla="*/ 130493 w 247650"/>
                  <a:gd name="connsiteY4" fmla="*/ 92393 h 92392"/>
                  <a:gd name="connsiteX5" fmla="*/ 61913 w 247650"/>
                  <a:gd name="connsiteY5" fmla="*/ 92393 h 92392"/>
                  <a:gd name="connsiteX6" fmla="*/ 0 w 247650"/>
                  <a:gd name="connsiteY6" fmla="*/ 92393 h 92392"/>
                  <a:gd name="connsiteX7" fmla="*/ 65723 w 247650"/>
                  <a:gd name="connsiteY7" fmla="*/ 26670 h 92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7650" h="92392">
                    <a:moveTo>
                      <a:pt x="65723" y="26670"/>
                    </a:moveTo>
                    <a:cubicBezTo>
                      <a:pt x="73343" y="26670"/>
                      <a:pt x="80010" y="27622"/>
                      <a:pt x="86677" y="30480"/>
                    </a:cubicBezTo>
                    <a:cubicBezTo>
                      <a:pt x="103823" y="11430"/>
                      <a:pt x="127635" y="0"/>
                      <a:pt x="155258" y="0"/>
                    </a:cubicBezTo>
                    <a:cubicBezTo>
                      <a:pt x="206693" y="0"/>
                      <a:pt x="247650" y="40957"/>
                      <a:pt x="247650" y="92393"/>
                    </a:cubicBezTo>
                    <a:lnTo>
                      <a:pt x="130493" y="92393"/>
                    </a:lnTo>
                    <a:lnTo>
                      <a:pt x="61913" y="92393"/>
                    </a:lnTo>
                    <a:lnTo>
                      <a:pt x="0" y="92393"/>
                    </a:lnTo>
                    <a:cubicBezTo>
                      <a:pt x="0" y="56197"/>
                      <a:pt x="29528" y="26670"/>
                      <a:pt x="65723" y="2667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927363DB-FA22-5A29-462E-A851FB74B9EB}"/>
              </a:ext>
            </a:extLst>
          </p:cNvPr>
          <p:cNvSpPr txBox="1"/>
          <p:nvPr/>
        </p:nvSpPr>
        <p:spPr>
          <a:xfrm>
            <a:off x="2713356" y="2137310"/>
            <a:ext cx="6594070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>
              <a:buFontTx/>
              <a:buChar char="-"/>
            </a:pPr>
            <a:r>
              <a:rPr lang="en-US" sz="2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n1 times of convolution operations with kernel </a:t>
            </a: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of c*f1*f1</a:t>
            </a:r>
          </a:p>
          <a:p>
            <a:pPr marR="0" lvl="0"/>
            <a:endParaRPr lang="en-US" sz="2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marR="0" lvl="0" indent="-285750">
              <a:buFontTx/>
              <a:buChar char="-"/>
            </a:pP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Y: input image</a:t>
            </a:r>
          </a:p>
          <a:p>
            <a:pPr marR="0" lvl="0"/>
            <a:endParaRPr lang="en-US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marR="0" lvl="0" indent="-285750">
              <a:buFontTx/>
              <a:buChar char="-"/>
            </a:pPr>
            <a:r>
              <a:rPr lang="en-US" sz="2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W1: filters</a:t>
            </a:r>
          </a:p>
          <a:p>
            <a:pPr marR="0" lvl="0"/>
            <a:endParaRPr lang="en-US" sz="2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marR="0" lvl="0" indent="-285750">
              <a:buFontTx/>
              <a:buChar char="-"/>
            </a:pP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B1: biases</a:t>
            </a:r>
          </a:p>
          <a:p>
            <a:pPr marR="0" lvl="0"/>
            <a:endParaRPr lang="en-US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marR="0" lvl="0" indent="-285750">
              <a:buFontTx/>
              <a:buChar char="-"/>
            </a:pP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C: number of channels</a:t>
            </a:r>
          </a:p>
          <a:p>
            <a:pPr marR="0" lvl="0"/>
            <a:endParaRPr lang="en-US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marR="0" lvl="0" indent="-285750">
              <a:buFontTx/>
              <a:buChar char="-"/>
            </a:pP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*: Convolutional Operation</a:t>
            </a:r>
          </a:p>
          <a:p>
            <a:pPr marR="0" lvl="0"/>
            <a:endParaRPr lang="en-US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marR="0" lvl="0" indent="-285750">
              <a:buFontTx/>
              <a:buChar char="-"/>
            </a:pPr>
            <a:r>
              <a:rPr lang="en-US" sz="2000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ReLU</a:t>
            </a: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form output</a:t>
            </a:r>
          </a:p>
          <a:p>
            <a:pPr marR="0" lvl="0"/>
            <a:endParaRPr lang="en-US" sz="2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R="0" lvl="0"/>
            <a:endParaRPr lang="en-US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R="0" lvl="0"/>
            <a:endParaRPr lang="en-US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R="0" lvl="0"/>
            <a:r>
              <a:rPr lang="en-US" sz="2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- </a:t>
            </a:r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id="{8CCEFEA8-4625-51EB-9EEC-F235CDAB66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2852" y="1222022"/>
            <a:ext cx="4335457" cy="72196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296659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2</a:t>
            </a:r>
            <a:r>
              <a:rPr lang="en-US" altLang="zh-CN" baseline="30000" dirty="0"/>
              <a:t>nd</a:t>
            </a:r>
            <a:r>
              <a:rPr lang="en-US" altLang="zh-CN" dirty="0"/>
              <a:t> part: Non-Linear Mapping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FE3897B8-EEF2-EF09-58E8-6380F6E3742D}"/>
              </a:ext>
            </a:extLst>
          </p:cNvPr>
          <p:cNvGrpSpPr/>
          <p:nvPr/>
        </p:nvGrpSpPr>
        <p:grpSpPr>
          <a:xfrm>
            <a:off x="8358909" y="5477164"/>
            <a:ext cx="3719729" cy="1298762"/>
            <a:chOff x="2772569" y="2151697"/>
            <a:chExt cx="6719888" cy="2554605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288EEB7A-6D63-F12F-3CCD-8F869232CFED}"/>
                </a:ext>
              </a:extLst>
            </p:cNvPr>
            <p:cNvGrpSpPr/>
            <p:nvPr/>
          </p:nvGrpSpPr>
          <p:grpSpPr>
            <a:xfrm>
              <a:off x="7873207" y="2151697"/>
              <a:ext cx="1093469" cy="2553652"/>
              <a:chOff x="7838122" y="219075"/>
              <a:chExt cx="1093469" cy="2553652"/>
            </a:xfrm>
          </p:grpSpPr>
          <p:sp>
            <p:nvSpPr>
              <p:cNvPr id="79" name="任意多边形 157">
                <a:extLst>
                  <a:ext uri="{FF2B5EF4-FFF2-40B4-BE49-F238E27FC236}">
                    <a16:creationId xmlns:a16="http://schemas.microsoft.com/office/drawing/2014/main" id="{2213DB1D-7987-2518-5F24-BC1269ED5332}"/>
                  </a:ext>
                </a:extLst>
              </p:cNvPr>
              <p:cNvSpPr/>
              <p:nvPr/>
            </p:nvSpPr>
            <p:spPr>
              <a:xfrm>
                <a:off x="8309609" y="280987"/>
                <a:ext cx="151447" cy="2491740"/>
              </a:xfrm>
              <a:custGeom>
                <a:avLst/>
                <a:gdLst>
                  <a:gd name="connsiteX0" fmla="*/ 151447 w 151447"/>
                  <a:gd name="connsiteY0" fmla="*/ 2491740 h 2491740"/>
                  <a:gd name="connsiteX1" fmla="*/ 0 w 151447"/>
                  <a:gd name="connsiteY1" fmla="*/ 2491740 h 2491740"/>
                  <a:gd name="connsiteX2" fmla="*/ 52388 w 151447"/>
                  <a:gd name="connsiteY2" fmla="*/ 0 h 2491740"/>
                  <a:gd name="connsiteX3" fmla="*/ 99060 w 151447"/>
                  <a:gd name="connsiteY3" fmla="*/ 0 h 249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1447" h="2491740">
                    <a:moveTo>
                      <a:pt x="151447" y="2491740"/>
                    </a:moveTo>
                    <a:lnTo>
                      <a:pt x="0" y="2491740"/>
                    </a:lnTo>
                    <a:lnTo>
                      <a:pt x="52388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80" name="组合 79">
                <a:extLst>
                  <a:ext uri="{FF2B5EF4-FFF2-40B4-BE49-F238E27FC236}">
                    <a16:creationId xmlns:a16="http://schemas.microsoft.com/office/drawing/2014/main" id="{CE8422B4-726A-DB9F-07F1-52E3B10F3199}"/>
                  </a:ext>
                </a:extLst>
              </p:cNvPr>
              <p:cNvGrpSpPr/>
              <p:nvPr/>
            </p:nvGrpSpPr>
            <p:grpSpPr>
              <a:xfrm>
                <a:off x="7838122" y="219075"/>
                <a:ext cx="1093469" cy="1788795"/>
                <a:chOff x="7838122" y="219075"/>
                <a:chExt cx="1093469" cy="1788795"/>
              </a:xfrm>
            </p:grpSpPr>
            <p:sp>
              <p:nvSpPr>
                <p:cNvPr id="81" name="任意多边形 159">
                  <a:extLst>
                    <a:ext uri="{FF2B5EF4-FFF2-40B4-BE49-F238E27FC236}">
                      <a16:creationId xmlns:a16="http://schemas.microsoft.com/office/drawing/2014/main" id="{0A2A7881-9992-9D31-1E8B-BB6DD3AAA61E}"/>
                    </a:ext>
                  </a:extLst>
                </p:cNvPr>
                <p:cNvSpPr/>
                <p:nvPr/>
              </p:nvSpPr>
              <p:spPr>
                <a:xfrm>
                  <a:off x="7838122" y="1418272"/>
                  <a:ext cx="1093469" cy="589597"/>
                </a:xfrm>
                <a:custGeom>
                  <a:avLst/>
                  <a:gdLst>
                    <a:gd name="connsiteX0" fmla="*/ 542925 w 1093469"/>
                    <a:gd name="connsiteY0" fmla="*/ 0 h 589597"/>
                    <a:gd name="connsiteX1" fmla="*/ 0 w 1093469"/>
                    <a:gd name="connsiteY1" fmla="*/ 589598 h 589597"/>
                    <a:gd name="connsiteX2" fmla="*/ 546735 w 1093469"/>
                    <a:gd name="connsiteY2" fmla="*/ 589598 h 589597"/>
                    <a:gd name="connsiteX3" fmla="*/ 1093470 w 1093469"/>
                    <a:gd name="connsiteY3" fmla="*/ 589598 h 589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93469" h="589597">
                      <a:moveTo>
                        <a:pt x="542925" y="0"/>
                      </a:moveTo>
                      <a:lnTo>
                        <a:pt x="0" y="589598"/>
                      </a:lnTo>
                      <a:lnTo>
                        <a:pt x="546735" y="589598"/>
                      </a:lnTo>
                      <a:lnTo>
                        <a:pt x="1093470" y="589598"/>
                      </a:ln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2" name="任意多边形 160">
                  <a:extLst>
                    <a:ext uri="{FF2B5EF4-FFF2-40B4-BE49-F238E27FC236}">
                      <a16:creationId xmlns:a16="http://schemas.microsoft.com/office/drawing/2014/main" id="{F8F9F474-39FD-549B-8463-BF4B90EECB34}"/>
                    </a:ext>
                  </a:extLst>
                </p:cNvPr>
                <p:cNvSpPr/>
                <p:nvPr/>
              </p:nvSpPr>
              <p:spPr>
                <a:xfrm>
                  <a:off x="7892414" y="1091564"/>
                  <a:ext cx="979170" cy="480060"/>
                </a:xfrm>
                <a:custGeom>
                  <a:avLst/>
                  <a:gdLst>
                    <a:gd name="connsiteX0" fmla="*/ 486728 w 979170"/>
                    <a:gd name="connsiteY0" fmla="*/ 0 h 480060"/>
                    <a:gd name="connsiteX1" fmla="*/ 0 w 979170"/>
                    <a:gd name="connsiteY1" fmla="*/ 480060 h 480060"/>
                    <a:gd name="connsiteX2" fmla="*/ 489585 w 979170"/>
                    <a:gd name="connsiteY2" fmla="*/ 480060 h 480060"/>
                    <a:gd name="connsiteX3" fmla="*/ 979170 w 979170"/>
                    <a:gd name="connsiteY3" fmla="*/ 480060 h 4800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9170" h="480060">
                      <a:moveTo>
                        <a:pt x="486728" y="0"/>
                      </a:moveTo>
                      <a:lnTo>
                        <a:pt x="0" y="480060"/>
                      </a:lnTo>
                      <a:lnTo>
                        <a:pt x="489585" y="480060"/>
                      </a:lnTo>
                      <a:lnTo>
                        <a:pt x="979170" y="480060"/>
                      </a:ln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3" name="任意多边形 161">
                  <a:extLst>
                    <a:ext uri="{FF2B5EF4-FFF2-40B4-BE49-F238E27FC236}">
                      <a16:creationId xmlns:a16="http://schemas.microsoft.com/office/drawing/2014/main" id="{B4C3880F-53E7-C432-510D-7B042445B7E9}"/>
                    </a:ext>
                  </a:extLst>
                </p:cNvPr>
                <p:cNvSpPr/>
                <p:nvPr/>
              </p:nvSpPr>
              <p:spPr>
                <a:xfrm>
                  <a:off x="7937181" y="819150"/>
                  <a:ext cx="886777" cy="398145"/>
                </a:xfrm>
                <a:custGeom>
                  <a:avLst/>
                  <a:gdLst>
                    <a:gd name="connsiteX0" fmla="*/ 441007 w 886777"/>
                    <a:gd name="connsiteY0" fmla="*/ 0 h 398145"/>
                    <a:gd name="connsiteX1" fmla="*/ 0 w 886777"/>
                    <a:gd name="connsiteY1" fmla="*/ 398145 h 398145"/>
                    <a:gd name="connsiteX2" fmla="*/ 442913 w 886777"/>
                    <a:gd name="connsiteY2" fmla="*/ 398145 h 398145"/>
                    <a:gd name="connsiteX3" fmla="*/ 886778 w 886777"/>
                    <a:gd name="connsiteY3" fmla="*/ 398145 h 3981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86777" h="398145">
                      <a:moveTo>
                        <a:pt x="441007" y="0"/>
                      </a:moveTo>
                      <a:lnTo>
                        <a:pt x="0" y="398145"/>
                      </a:lnTo>
                      <a:lnTo>
                        <a:pt x="442913" y="398145"/>
                      </a:lnTo>
                      <a:lnTo>
                        <a:pt x="886778" y="398145"/>
                      </a:ln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4" name="任意多边形 162">
                  <a:extLst>
                    <a:ext uri="{FF2B5EF4-FFF2-40B4-BE49-F238E27FC236}">
                      <a16:creationId xmlns:a16="http://schemas.microsoft.com/office/drawing/2014/main" id="{18997019-715B-82F9-E48A-9B698523B9F4}"/>
                    </a:ext>
                  </a:extLst>
                </p:cNvPr>
                <p:cNvSpPr/>
                <p:nvPr/>
              </p:nvSpPr>
              <p:spPr>
                <a:xfrm>
                  <a:off x="7973376" y="587692"/>
                  <a:ext cx="809625" cy="336232"/>
                </a:xfrm>
                <a:custGeom>
                  <a:avLst/>
                  <a:gdLst>
                    <a:gd name="connsiteX0" fmla="*/ 402908 w 809625"/>
                    <a:gd name="connsiteY0" fmla="*/ 0 h 336232"/>
                    <a:gd name="connsiteX1" fmla="*/ 0 w 809625"/>
                    <a:gd name="connsiteY1" fmla="*/ 336233 h 336232"/>
                    <a:gd name="connsiteX2" fmla="*/ 404813 w 809625"/>
                    <a:gd name="connsiteY2" fmla="*/ 336233 h 336232"/>
                    <a:gd name="connsiteX3" fmla="*/ 809625 w 809625"/>
                    <a:gd name="connsiteY3" fmla="*/ 336233 h 336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9625" h="336232">
                      <a:moveTo>
                        <a:pt x="402908" y="0"/>
                      </a:moveTo>
                      <a:lnTo>
                        <a:pt x="0" y="336233"/>
                      </a:lnTo>
                      <a:lnTo>
                        <a:pt x="404813" y="336233"/>
                      </a:lnTo>
                      <a:lnTo>
                        <a:pt x="809625" y="336233"/>
                      </a:lnTo>
                      <a:close/>
                    </a:path>
                  </a:pathLst>
                </a:custGeom>
                <a:solidFill>
                  <a:srgbClr val="45BC5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5" name="任意多边形 163">
                  <a:extLst>
                    <a:ext uri="{FF2B5EF4-FFF2-40B4-BE49-F238E27FC236}">
                      <a16:creationId xmlns:a16="http://schemas.microsoft.com/office/drawing/2014/main" id="{217A25B9-5B7F-7AFC-8782-B70DFEE4F8E1}"/>
                    </a:ext>
                  </a:extLst>
                </p:cNvPr>
                <p:cNvSpPr/>
                <p:nvPr/>
              </p:nvSpPr>
              <p:spPr>
                <a:xfrm>
                  <a:off x="8003856" y="390525"/>
                  <a:ext cx="745807" cy="286702"/>
                </a:xfrm>
                <a:custGeom>
                  <a:avLst/>
                  <a:gdLst>
                    <a:gd name="connsiteX0" fmla="*/ 371475 w 745807"/>
                    <a:gd name="connsiteY0" fmla="*/ 0 h 286702"/>
                    <a:gd name="connsiteX1" fmla="*/ 0 w 745807"/>
                    <a:gd name="connsiteY1" fmla="*/ 286703 h 286702"/>
                    <a:gd name="connsiteX2" fmla="*/ 373380 w 745807"/>
                    <a:gd name="connsiteY2" fmla="*/ 286703 h 286702"/>
                    <a:gd name="connsiteX3" fmla="*/ 745807 w 745807"/>
                    <a:gd name="connsiteY3" fmla="*/ 286703 h 286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5807" h="286702">
                      <a:moveTo>
                        <a:pt x="371475" y="0"/>
                      </a:moveTo>
                      <a:lnTo>
                        <a:pt x="0" y="286703"/>
                      </a:lnTo>
                      <a:lnTo>
                        <a:pt x="373380" y="286703"/>
                      </a:lnTo>
                      <a:lnTo>
                        <a:pt x="745807" y="286703"/>
                      </a:ln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6" name="任意多边形 164">
                  <a:extLst>
                    <a:ext uri="{FF2B5EF4-FFF2-40B4-BE49-F238E27FC236}">
                      <a16:creationId xmlns:a16="http://schemas.microsoft.com/office/drawing/2014/main" id="{239CADBE-6253-A96B-B807-8A77D736DC3B}"/>
                    </a:ext>
                  </a:extLst>
                </p:cNvPr>
                <p:cNvSpPr/>
                <p:nvPr/>
              </p:nvSpPr>
              <p:spPr>
                <a:xfrm>
                  <a:off x="8030526" y="219075"/>
                  <a:ext cx="690562" cy="248602"/>
                </a:xfrm>
                <a:custGeom>
                  <a:avLst/>
                  <a:gdLst>
                    <a:gd name="connsiteX0" fmla="*/ 343853 w 690562"/>
                    <a:gd name="connsiteY0" fmla="*/ 0 h 248602"/>
                    <a:gd name="connsiteX1" fmla="*/ 0 w 690562"/>
                    <a:gd name="connsiteY1" fmla="*/ 248603 h 248602"/>
                    <a:gd name="connsiteX2" fmla="*/ 344805 w 690562"/>
                    <a:gd name="connsiteY2" fmla="*/ 248603 h 248602"/>
                    <a:gd name="connsiteX3" fmla="*/ 690563 w 690562"/>
                    <a:gd name="connsiteY3" fmla="*/ 248603 h 2486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0562" h="248602">
                      <a:moveTo>
                        <a:pt x="343853" y="0"/>
                      </a:moveTo>
                      <a:lnTo>
                        <a:pt x="0" y="248603"/>
                      </a:lnTo>
                      <a:lnTo>
                        <a:pt x="344805" y="248603"/>
                      </a:lnTo>
                      <a:lnTo>
                        <a:pt x="690563" y="248603"/>
                      </a:ln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0EE8A529-A0C2-7EAA-9B89-4429797D4163}"/>
                </a:ext>
              </a:extLst>
            </p:cNvPr>
            <p:cNvGrpSpPr/>
            <p:nvPr/>
          </p:nvGrpSpPr>
          <p:grpSpPr>
            <a:xfrm>
              <a:off x="5240497" y="2258376"/>
              <a:ext cx="1892617" cy="2446972"/>
              <a:chOff x="5205412" y="325754"/>
              <a:chExt cx="1892617" cy="2446972"/>
            </a:xfrm>
          </p:grpSpPr>
          <p:sp>
            <p:nvSpPr>
              <p:cNvPr id="67" name="任意多边形 168">
                <a:extLst>
                  <a:ext uri="{FF2B5EF4-FFF2-40B4-BE49-F238E27FC236}">
                    <a16:creationId xmlns:a16="http://schemas.microsoft.com/office/drawing/2014/main" id="{2D4433C8-29BD-5179-5F6B-C6147B2C3C5E}"/>
                  </a:ext>
                </a:extLst>
              </p:cNvPr>
              <p:cNvSpPr/>
              <p:nvPr/>
            </p:nvSpPr>
            <p:spPr>
              <a:xfrm>
                <a:off x="6055042" y="425767"/>
                <a:ext cx="194309" cy="2346960"/>
              </a:xfrm>
              <a:custGeom>
                <a:avLst/>
                <a:gdLst>
                  <a:gd name="connsiteX0" fmla="*/ 194310 w 194309"/>
                  <a:gd name="connsiteY0" fmla="*/ 2346960 h 2346960"/>
                  <a:gd name="connsiteX1" fmla="*/ 0 w 194309"/>
                  <a:gd name="connsiteY1" fmla="*/ 2346960 h 2346960"/>
                  <a:gd name="connsiteX2" fmla="*/ 66675 w 194309"/>
                  <a:gd name="connsiteY2" fmla="*/ 0 h 2346960"/>
                  <a:gd name="connsiteX3" fmla="*/ 127635 w 194309"/>
                  <a:gd name="connsiteY3" fmla="*/ 0 h 2346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4309" h="2346960">
                    <a:moveTo>
                      <a:pt x="194310" y="2346960"/>
                    </a:moveTo>
                    <a:lnTo>
                      <a:pt x="0" y="2346960"/>
                    </a:lnTo>
                    <a:lnTo>
                      <a:pt x="66675" y="0"/>
                    </a:lnTo>
                    <a:lnTo>
                      <a:pt x="127635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8" name="组合 67">
                <a:extLst>
                  <a:ext uri="{FF2B5EF4-FFF2-40B4-BE49-F238E27FC236}">
                    <a16:creationId xmlns:a16="http://schemas.microsoft.com/office/drawing/2014/main" id="{0E828CA0-2B27-4FF0-3F8F-362952D1CC0B}"/>
                  </a:ext>
                </a:extLst>
              </p:cNvPr>
              <p:cNvGrpSpPr/>
              <p:nvPr/>
            </p:nvGrpSpPr>
            <p:grpSpPr>
              <a:xfrm>
                <a:off x="5205412" y="325754"/>
                <a:ext cx="1892617" cy="1728787"/>
                <a:chOff x="5205412" y="325754"/>
                <a:chExt cx="1892617" cy="1728787"/>
              </a:xfrm>
            </p:grpSpPr>
            <p:sp>
              <p:nvSpPr>
                <p:cNvPr id="69" name="任意多边形 170">
                  <a:extLst>
                    <a:ext uri="{FF2B5EF4-FFF2-40B4-BE49-F238E27FC236}">
                      <a16:creationId xmlns:a16="http://schemas.microsoft.com/office/drawing/2014/main" id="{89036D5B-F315-A58D-CCF7-A3350BDF4A45}"/>
                    </a:ext>
                  </a:extLst>
                </p:cNvPr>
                <p:cNvSpPr/>
                <p:nvPr/>
              </p:nvSpPr>
              <p:spPr>
                <a:xfrm>
                  <a:off x="5354954" y="596264"/>
                  <a:ext cx="741044" cy="741045"/>
                </a:xfrm>
                <a:custGeom>
                  <a:avLst/>
                  <a:gdLst>
                    <a:gd name="connsiteX0" fmla="*/ 741045 w 741044"/>
                    <a:gd name="connsiteY0" fmla="*/ 370523 h 741045"/>
                    <a:gd name="connsiteX1" fmla="*/ 370522 w 741044"/>
                    <a:gd name="connsiteY1" fmla="*/ 741045 h 741045"/>
                    <a:gd name="connsiteX2" fmla="*/ 0 w 741044"/>
                    <a:gd name="connsiteY2" fmla="*/ 370523 h 741045"/>
                    <a:gd name="connsiteX3" fmla="*/ 370522 w 741044"/>
                    <a:gd name="connsiteY3" fmla="*/ 0 h 741045"/>
                    <a:gd name="connsiteX4" fmla="*/ 741045 w 741044"/>
                    <a:gd name="connsiteY4" fmla="*/ 370523 h 741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1044" h="741045">
                      <a:moveTo>
                        <a:pt x="741045" y="370523"/>
                      </a:moveTo>
                      <a:cubicBezTo>
                        <a:pt x="741045" y="575310"/>
                        <a:pt x="575310" y="741045"/>
                        <a:pt x="370522" y="741045"/>
                      </a:cubicBezTo>
                      <a:cubicBezTo>
                        <a:pt x="165735" y="741045"/>
                        <a:pt x="0" y="575310"/>
                        <a:pt x="0" y="370523"/>
                      </a:cubicBezTo>
                      <a:cubicBezTo>
                        <a:pt x="0" y="165735"/>
                        <a:pt x="165735" y="0"/>
                        <a:pt x="370522" y="0"/>
                      </a:cubicBezTo>
                      <a:cubicBezTo>
                        <a:pt x="574357" y="0"/>
                        <a:pt x="741045" y="165735"/>
                        <a:pt x="741045" y="370523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0" name="任意多边形 171">
                  <a:extLst>
                    <a:ext uri="{FF2B5EF4-FFF2-40B4-BE49-F238E27FC236}">
                      <a16:creationId xmlns:a16="http://schemas.microsoft.com/office/drawing/2014/main" id="{C780C4B8-6F91-E2B7-1DF4-1331E326ACE1}"/>
                    </a:ext>
                  </a:extLst>
                </p:cNvPr>
                <p:cNvSpPr/>
                <p:nvPr/>
              </p:nvSpPr>
              <p:spPr>
                <a:xfrm>
                  <a:off x="6587489" y="866769"/>
                  <a:ext cx="510540" cy="510545"/>
                </a:xfrm>
                <a:custGeom>
                  <a:avLst/>
                  <a:gdLst>
                    <a:gd name="connsiteX0" fmla="*/ 510540 w 510540"/>
                    <a:gd name="connsiteY0" fmla="*/ 255276 h 510545"/>
                    <a:gd name="connsiteX1" fmla="*/ 255270 w 510540"/>
                    <a:gd name="connsiteY1" fmla="*/ 510546 h 510545"/>
                    <a:gd name="connsiteX2" fmla="*/ 0 w 510540"/>
                    <a:gd name="connsiteY2" fmla="*/ 255276 h 510545"/>
                    <a:gd name="connsiteX3" fmla="*/ 255270 w 510540"/>
                    <a:gd name="connsiteY3" fmla="*/ 6 h 510545"/>
                    <a:gd name="connsiteX4" fmla="*/ 510540 w 510540"/>
                    <a:gd name="connsiteY4" fmla="*/ 255276 h 5105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0540" h="510545">
                      <a:moveTo>
                        <a:pt x="510540" y="255276"/>
                      </a:moveTo>
                      <a:cubicBezTo>
                        <a:pt x="510540" y="396246"/>
                        <a:pt x="396240" y="510546"/>
                        <a:pt x="255270" y="510546"/>
                      </a:cubicBezTo>
                      <a:cubicBezTo>
                        <a:pt x="114300" y="510546"/>
                        <a:pt x="0" y="396246"/>
                        <a:pt x="0" y="255276"/>
                      </a:cubicBezTo>
                      <a:cubicBezTo>
                        <a:pt x="0" y="114306"/>
                        <a:pt x="114300" y="6"/>
                        <a:pt x="255270" y="6"/>
                      </a:cubicBezTo>
                      <a:cubicBezTo>
                        <a:pt x="396240" y="-947"/>
                        <a:pt x="510540" y="114306"/>
                        <a:pt x="510540" y="255276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1" name="任意多边形 172">
                  <a:extLst>
                    <a:ext uri="{FF2B5EF4-FFF2-40B4-BE49-F238E27FC236}">
                      <a16:creationId xmlns:a16="http://schemas.microsoft.com/office/drawing/2014/main" id="{45852896-3580-FC80-BB74-E128DBCB25C1}"/>
                    </a:ext>
                  </a:extLst>
                </p:cNvPr>
                <p:cNvSpPr/>
                <p:nvPr/>
              </p:nvSpPr>
              <p:spPr>
                <a:xfrm>
                  <a:off x="5427344" y="545782"/>
                  <a:ext cx="1508760" cy="1508759"/>
                </a:xfrm>
                <a:custGeom>
                  <a:avLst/>
                  <a:gdLst>
                    <a:gd name="connsiteX0" fmla="*/ 1508760 w 1508760"/>
                    <a:gd name="connsiteY0" fmla="*/ 754380 h 1508759"/>
                    <a:gd name="connsiteX1" fmla="*/ 754380 w 1508760"/>
                    <a:gd name="connsiteY1" fmla="*/ 1508760 h 1508759"/>
                    <a:gd name="connsiteX2" fmla="*/ 0 w 1508760"/>
                    <a:gd name="connsiteY2" fmla="*/ 754380 h 1508759"/>
                    <a:gd name="connsiteX3" fmla="*/ 754380 w 1508760"/>
                    <a:gd name="connsiteY3" fmla="*/ 0 h 1508759"/>
                    <a:gd name="connsiteX4" fmla="*/ 1508760 w 1508760"/>
                    <a:gd name="connsiteY4" fmla="*/ 754380 h 1508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760" h="1508759">
                      <a:moveTo>
                        <a:pt x="1508760" y="754380"/>
                      </a:moveTo>
                      <a:cubicBezTo>
                        <a:pt x="1508760" y="1170623"/>
                        <a:pt x="1171575" y="1508760"/>
                        <a:pt x="754380" y="1508760"/>
                      </a:cubicBezTo>
                      <a:cubicBezTo>
                        <a:pt x="338138" y="1508760"/>
                        <a:pt x="0" y="1171575"/>
                        <a:pt x="0" y="754380"/>
                      </a:cubicBezTo>
                      <a:cubicBezTo>
                        <a:pt x="0" y="338138"/>
                        <a:pt x="337185" y="0"/>
                        <a:pt x="754380" y="0"/>
                      </a:cubicBezTo>
                      <a:cubicBezTo>
                        <a:pt x="1171575" y="953"/>
                        <a:pt x="1508760" y="338138"/>
                        <a:pt x="1508760" y="754380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2" name="任意多边形 173">
                  <a:extLst>
                    <a:ext uri="{FF2B5EF4-FFF2-40B4-BE49-F238E27FC236}">
                      <a16:creationId xmlns:a16="http://schemas.microsoft.com/office/drawing/2014/main" id="{87ED978A-82A5-87A8-042C-E55759CA1A98}"/>
                    </a:ext>
                  </a:extLst>
                </p:cNvPr>
                <p:cNvSpPr/>
                <p:nvPr/>
              </p:nvSpPr>
              <p:spPr>
                <a:xfrm>
                  <a:off x="5205412" y="1026795"/>
                  <a:ext cx="798194" cy="798195"/>
                </a:xfrm>
                <a:custGeom>
                  <a:avLst/>
                  <a:gdLst>
                    <a:gd name="connsiteX0" fmla="*/ 798195 w 798194"/>
                    <a:gd name="connsiteY0" fmla="*/ 399097 h 798195"/>
                    <a:gd name="connsiteX1" fmla="*/ 399097 w 798194"/>
                    <a:gd name="connsiteY1" fmla="*/ 798195 h 798195"/>
                    <a:gd name="connsiteX2" fmla="*/ 0 w 798194"/>
                    <a:gd name="connsiteY2" fmla="*/ 399097 h 798195"/>
                    <a:gd name="connsiteX3" fmla="*/ 399097 w 798194"/>
                    <a:gd name="connsiteY3" fmla="*/ 0 h 798195"/>
                    <a:gd name="connsiteX4" fmla="*/ 798195 w 798194"/>
                    <a:gd name="connsiteY4" fmla="*/ 399097 h 798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98194" h="798195">
                      <a:moveTo>
                        <a:pt x="798195" y="399097"/>
                      </a:moveTo>
                      <a:cubicBezTo>
                        <a:pt x="798195" y="619125"/>
                        <a:pt x="619125" y="798195"/>
                        <a:pt x="399097" y="798195"/>
                      </a:cubicBezTo>
                      <a:cubicBezTo>
                        <a:pt x="179070" y="798195"/>
                        <a:pt x="0" y="619125"/>
                        <a:pt x="0" y="399097"/>
                      </a:cubicBezTo>
                      <a:cubicBezTo>
                        <a:pt x="0" y="179070"/>
                        <a:pt x="179070" y="0"/>
                        <a:pt x="399097" y="0"/>
                      </a:cubicBezTo>
                      <a:cubicBezTo>
                        <a:pt x="619125" y="0"/>
                        <a:pt x="798195" y="179070"/>
                        <a:pt x="798195" y="399097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3" name="任意多边形 174">
                  <a:extLst>
                    <a:ext uri="{FF2B5EF4-FFF2-40B4-BE49-F238E27FC236}">
                      <a16:creationId xmlns:a16="http://schemas.microsoft.com/office/drawing/2014/main" id="{83A364DA-108D-EFFF-827F-7748356E0A7F}"/>
                    </a:ext>
                  </a:extLst>
                </p:cNvPr>
                <p:cNvSpPr/>
                <p:nvPr/>
              </p:nvSpPr>
              <p:spPr>
                <a:xfrm>
                  <a:off x="6276021" y="1425892"/>
                  <a:ext cx="609600" cy="609600"/>
                </a:xfrm>
                <a:custGeom>
                  <a:avLst/>
                  <a:gdLst>
                    <a:gd name="connsiteX0" fmla="*/ 609600 w 609600"/>
                    <a:gd name="connsiteY0" fmla="*/ 304800 h 609600"/>
                    <a:gd name="connsiteX1" fmla="*/ 304800 w 609600"/>
                    <a:gd name="connsiteY1" fmla="*/ 609600 h 609600"/>
                    <a:gd name="connsiteX2" fmla="*/ 0 w 609600"/>
                    <a:gd name="connsiteY2" fmla="*/ 304800 h 609600"/>
                    <a:gd name="connsiteX3" fmla="*/ 304800 w 609600"/>
                    <a:gd name="connsiteY3" fmla="*/ 0 h 609600"/>
                    <a:gd name="connsiteX4" fmla="*/ 609600 w 609600"/>
                    <a:gd name="connsiteY4" fmla="*/ 304800 h 609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9600" h="609600">
                      <a:moveTo>
                        <a:pt x="609600" y="304800"/>
                      </a:moveTo>
                      <a:cubicBezTo>
                        <a:pt x="609600" y="473392"/>
                        <a:pt x="473393" y="609600"/>
                        <a:pt x="304800" y="609600"/>
                      </a:cubicBezTo>
                      <a:cubicBezTo>
                        <a:pt x="136208" y="609600"/>
                        <a:pt x="0" y="473392"/>
                        <a:pt x="0" y="304800"/>
                      </a:cubicBezTo>
                      <a:cubicBezTo>
                        <a:pt x="0" y="136208"/>
                        <a:pt x="136208" y="0"/>
                        <a:pt x="304800" y="0"/>
                      </a:cubicBezTo>
                      <a:cubicBezTo>
                        <a:pt x="473393" y="0"/>
                        <a:pt x="609600" y="136208"/>
                        <a:pt x="609600" y="30480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4" name="任意多边形 175">
                  <a:extLst>
                    <a:ext uri="{FF2B5EF4-FFF2-40B4-BE49-F238E27FC236}">
                      <a16:creationId xmlns:a16="http://schemas.microsoft.com/office/drawing/2014/main" id="{297248F1-49D8-9218-369A-9711FCB5E1D8}"/>
                    </a:ext>
                  </a:extLst>
                </p:cNvPr>
                <p:cNvSpPr/>
                <p:nvPr/>
              </p:nvSpPr>
              <p:spPr>
                <a:xfrm>
                  <a:off x="5838824" y="325754"/>
                  <a:ext cx="1003934" cy="1003934"/>
                </a:xfrm>
                <a:custGeom>
                  <a:avLst/>
                  <a:gdLst>
                    <a:gd name="connsiteX0" fmla="*/ 1003935 w 1003934"/>
                    <a:gd name="connsiteY0" fmla="*/ 501968 h 1003934"/>
                    <a:gd name="connsiteX1" fmla="*/ 501968 w 1003934"/>
                    <a:gd name="connsiteY1" fmla="*/ 1003935 h 1003934"/>
                    <a:gd name="connsiteX2" fmla="*/ 0 w 1003934"/>
                    <a:gd name="connsiteY2" fmla="*/ 501968 h 1003934"/>
                    <a:gd name="connsiteX3" fmla="*/ 501968 w 1003934"/>
                    <a:gd name="connsiteY3" fmla="*/ 0 h 1003934"/>
                    <a:gd name="connsiteX4" fmla="*/ 1003935 w 1003934"/>
                    <a:gd name="connsiteY4" fmla="*/ 501968 h 1003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3934" h="1003934">
                      <a:moveTo>
                        <a:pt x="1003935" y="501968"/>
                      </a:moveTo>
                      <a:cubicBezTo>
                        <a:pt x="1003935" y="779145"/>
                        <a:pt x="779145" y="1003935"/>
                        <a:pt x="501968" y="1003935"/>
                      </a:cubicBezTo>
                      <a:cubicBezTo>
                        <a:pt x="224790" y="1003935"/>
                        <a:pt x="0" y="779145"/>
                        <a:pt x="0" y="501968"/>
                      </a:cubicBezTo>
                      <a:cubicBezTo>
                        <a:pt x="0" y="224790"/>
                        <a:pt x="224790" y="0"/>
                        <a:pt x="501968" y="0"/>
                      </a:cubicBezTo>
                      <a:cubicBezTo>
                        <a:pt x="779145" y="0"/>
                        <a:pt x="1003935" y="224790"/>
                        <a:pt x="1003935" y="501968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5" name="任意多边形 176">
                  <a:extLst>
                    <a:ext uri="{FF2B5EF4-FFF2-40B4-BE49-F238E27FC236}">
                      <a16:creationId xmlns:a16="http://schemas.microsoft.com/office/drawing/2014/main" id="{F6192EB6-B73E-7024-6684-4B7E668E7FF6}"/>
                    </a:ext>
                  </a:extLst>
                </p:cNvPr>
                <p:cNvSpPr/>
                <p:nvPr/>
              </p:nvSpPr>
              <p:spPr>
                <a:xfrm>
                  <a:off x="6095046" y="1067752"/>
                  <a:ext cx="716280" cy="716280"/>
                </a:xfrm>
                <a:custGeom>
                  <a:avLst/>
                  <a:gdLst>
                    <a:gd name="connsiteX0" fmla="*/ 716280 w 716280"/>
                    <a:gd name="connsiteY0" fmla="*/ 358140 h 716280"/>
                    <a:gd name="connsiteX1" fmla="*/ 358140 w 716280"/>
                    <a:gd name="connsiteY1" fmla="*/ 716280 h 716280"/>
                    <a:gd name="connsiteX2" fmla="*/ 0 w 716280"/>
                    <a:gd name="connsiteY2" fmla="*/ 358140 h 716280"/>
                    <a:gd name="connsiteX3" fmla="*/ 358140 w 716280"/>
                    <a:gd name="connsiteY3" fmla="*/ 0 h 716280"/>
                    <a:gd name="connsiteX4" fmla="*/ 716280 w 716280"/>
                    <a:gd name="connsiteY4" fmla="*/ 358140 h 716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6280" h="716280">
                      <a:moveTo>
                        <a:pt x="716280" y="358140"/>
                      </a:moveTo>
                      <a:cubicBezTo>
                        <a:pt x="716280" y="556260"/>
                        <a:pt x="556260" y="716280"/>
                        <a:pt x="358140" y="716280"/>
                      </a:cubicBezTo>
                      <a:cubicBezTo>
                        <a:pt x="160020" y="716280"/>
                        <a:pt x="0" y="556260"/>
                        <a:pt x="0" y="358140"/>
                      </a:cubicBezTo>
                      <a:cubicBezTo>
                        <a:pt x="0" y="160020"/>
                        <a:pt x="160020" y="0"/>
                        <a:pt x="358140" y="0"/>
                      </a:cubicBezTo>
                      <a:cubicBezTo>
                        <a:pt x="556260" y="0"/>
                        <a:pt x="716280" y="160020"/>
                        <a:pt x="716280" y="35814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" name="任意多边形 177">
                  <a:extLst>
                    <a:ext uri="{FF2B5EF4-FFF2-40B4-BE49-F238E27FC236}">
                      <a16:creationId xmlns:a16="http://schemas.microsoft.com/office/drawing/2014/main" id="{6622D1DE-115D-1D7A-508A-90656F1A0010}"/>
                    </a:ext>
                  </a:extLst>
                </p:cNvPr>
                <p:cNvSpPr/>
                <p:nvPr/>
              </p:nvSpPr>
              <p:spPr>
                <a:xfrm>
                  <a:off x="5825489" y="1122045"/>
                  <a:ext cx="356234" cy="356234"/>
                </a:xfrm>
                <a:custGeom>
                  <a:avLst/>
                  <a:gdLst>
                    <a:gd name="connsiteX0" fmla="*/ 356235 w 356234"/>
                    <a:gd name="connsiteY0" fmla="*/ 178117 h 356234"/>
                    <a:gd name="connsiteX1" fmla="*/ 178117 w 356234"/>
                    <a:gd name="connsiteY1" fmla="*/ 356235 h 356234"/>
                    <a:gd name="connsiteX2" fmla="*/ 0 w 356234"/>
                    <a:gd name="connsiteY2" fmla="*/ 178117 h 356234"/>
                    <a:gd name="connsiteX3" fmla="*/ 178117 w 356234"/>
                    <a:gd name="connsiteY3" fmla="*/ 0 h 356234"/>
                    <a:gd name="connsiteX4" fmla="*/ 356235 w 356234"/>
                    <a:gd name="connsiteY4" fmla="*/ 178117 h 3562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234" h="356234">
                      <a:moveTo>
                        <a:pt x="356235" y="178117"/>
                      </a:moveTo>
                      <a:cubicBezTo>
                        <a:pt x="356235" y="276225"/>
                        <a:pt x="276225" y="356235"/>
                        <a:pt x="178117" y="356235"/>
                      </a:cubicBezTo>
                      <a:cubicBezTo>
                        <a:pt x="80010" y="356235"/>
                        <a:pt x="0" y="276225"/>
                        <a:pt x="0" y="178117"/>
                      </a:cubicBezTo>
                      <a:cubicBezTo>
                        <a:pt x="0" y="80010"/>
                        <a:pt x="80010" y="0"/>
                        <a:pt x="178117" y="0"/>
                      </a:cubicBezTo>
                      <a:cubicBezTo>
                        <a:pt x="277178" y="0"/>
                        <a:pt x="356235" y="80010"/>
                        <a:pt x="356235" y="178117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7" name="任意多边形 178">
                  <a:extLst>
                    <a:ext uri="{FF2B5EF4-FFF2-40B4-BE49-F238E27FC236}">
                      <a16:creationId xmlns:a16="http://schemas.microsoft.com/office/drawing/2014/main" id="{F88428BB-E988-EE1D-7B4A-A2175BCC689A}"/>
                    </a:ext>
                  </a:extLst>
                </p:cNvPr>
                <p:cNvSpPr/>
                <p:nvPr/>
              </p:nvSpPr>
              <p:spPr>
                <a:xfrm>
                  <a:off x="6644639" y="1199197"/>
                  <a:ext cx="419100" cy="419099"/>
                </a:xfrm>
                <a:custGeom>
                  <a:avLst/>
                  <a:gdLst>
                    <a:gd name="connsiteX0" fmla="*/ 419100 w 419100"/>
                    <a:gd name="connsiteY0" fmla="*/ 209550 h 419099"/>
                    <a:gd name="connsiteX1" fmla="*/ 209550 w 419100"/>
                    <a:gd name="connsiteY1" fmla="*/ 419100 h 419099"/>
                    <a:gd name="connsiteX2" fmla="*/ 0 w 419100"/>
                    <a:gd name="connsiteY2" fmla="*/ 209550 h 419099"/>
                    <a:gd name="connsiteX3" fmla="*/ 209550 w 419100"/>
                    <a:gd name="connsiteY3" fmla="*/ 0 h 419099"/>
                    <a:gd name="connsiteX4" fmla="*/ 419100 w 419100"/>
                    <a:gd name="connsiteY4" fmla="*/ 209550 h 419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9100" h="419099">
                      <a:moveTo>
                        <a:pt x="419100" y="209550"/>
                      </a:moveTo>
                      <a:cubicBezTo>
                        <a:pt x="419100" y="325755"/>
                        <a:pt x="324803" y="419100"/>
                        <a:pt x="209550" y="419100"/>
                      </a:cubicBezTo>
                      <a:cubicBezTo>
                        <a:pt x="93345" y="419100"/>
                        <a:pt x="0" y="324803"/>
                        <a:pt x="0" y="209550"/>
                      </a:cubicBezTo>
                      <a:cubicBezTo>
                        <a:pt x="0" y="93345"/>
                        <a:pt x="94297" y="0"/>
                        <a:pt x="209550" y="0"/>
                      </a:cubicBezTo>
                      <a:cubicBezTo>
                        <a:pt x="325755" y="0"/>
                        <a:pt x="419100" y="94298"/>
                        <a:pt x="419100" y="20955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8" name="任意多边形 179">
                  <a:extLst>
                    <a:ext uri="{FF2B5EF4-FFF2-40B4-BE49-F238E27FC236}">
                      <a16:creationId xmlns:a16="http://schemas.microsoft.com/office/drawing/2014/main" id="{9554263F-2169-A2E2-EBCA-EAB998EBDB03}"/>
                    </a:ext>
                  </a:extLst>
                </p:cNvPr>
                <p:cNvSpPr/>
                <p:nvPr/>
              </p:nvSpPr>
              <p:spPr>
                <a:xfrm>
                  <a:off x="5653087" y="1349692"/>
                  <a:ext cx="499109" cy="499110"/>
                </a:xfrm>
                <a:custGeom>
                  <a:avLst/>
                  <a:gdLst>
                    <a:gd name="connsiteX0" fmla="*/ 499110 w 499109"/>
                    <a:gd name="connsiteY0" fmla="*/ 249555 h 499110"/>
                    <a:gd name="connsiteX1" fmla="*/ 249555 w 499109"/>
                    <a:gd name="connsiteY1" fmla="*/ 499110 h 499110"/>
                    <a:gd name="connsiteX2" fmla="*/ 0 w 499109"/>
                    <a:gd name="connsiteY2" fmla="*/ 249555 h 499110"/>
                    <a:gd name="connsiteX3" fmla="*/ 249555 w 499109"/>
                    <a:gd name="connsiteY3" fmla="*/ 0 h 499110"/>
                    <a:gd name="connsiteX4" fmla="*/ 499110 w 499109"/>
                    <a:gd name="connsiteY4" fmla="*/ 249555 h 499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9109" h="499110">
                      <a:moveTo>
                        <a:pt x="499110" y="249555"/>
                      </a:moveTo>
                      <a:cubicBezTo>
                        <a:pt x="499110" y="387667"/>
                        <a:pt x="387668" y="499110"/>
                        <a:pt x="249555" y="499110"/>
                      </a:cubicBezTo>
                      <a:cubicBezTo>
                        <a:pt x="111443" y="499110"/>
                        <a:pt x="0" y="387667"/>
                        <a:pt x="0" y="249555"/>
                      </a:cubicBezTo>
                      <a:cubicBezTo>
                        <a:pt x="0" y="111442"/>
                        <a:pt x="111443" y="0"/>
                        <a:pt x="249555" y="0"/>
                      </a:cubicBezTo>
                      <a:cubicBezTo>
                        <a:pt x="386715" y="0"/>
                        <a:pt x="499110" y="111442"/>
                        <a:pt x="499110" y="249555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00FFA798-9BCA-0061-7C06-5D5DB71C5A46}"/>
                </a:ext>
              </a:extLst>
            </p:cNvPr>
            <p:cNvGrpSpPr/>
            <p:nvPr/>
          </p:nvGrpSpPr>
          <p:grpSpPr>
            <a:xfrm>
              <a:off x="3252047" y="2196916"/>
              <a:ext cx="995191" cy="2508433"/>
              <a:chOff x="3216962" y="264294"/>
              <a:chExt cx="995191" cy="2508433"/>
            </a:xfrm>
          </p:grpSpPr>
          <p:sp>
            <p:nvSpPr>
              <p:cNvPr id="56" name="任意多边形 183">
                <a:extLst>
                  <a:ext uri="{FF2B5EF4-FFF2-40B4-BE49-F238E27FC236}">
                    <a16:creationId xmlns:a16="http://schemas.microsoft.com/office/drawing/2014/main" id="{8D36E804-2426-3841-ADF6-A82977FC7192}"/>
                  </a:ext>
                </a:extLst>
              </p:cNvPr>
              <p:cNvSpPr/>
              <p:nvPr/>
            </p:nvSpPr>
            <p:spPr>
              <a:xfrm>
                <a:off x="3281110" y="264294"/>
                <a:ext cx="868010" cy="2011450"/>
              </a:xfrm>
              <a:custGeom>
                <a:avLst/>
                <a:gdLst>
                  <a:gd name="connsiteX0" fmla="*/ 526032 w 868010"/>
                  <a:gd name="connsiteY0" fmla="*/ 1999798 h 2011450"/>
                  <a:gd name="connsiteX1" fmla="*/ 838452 w 868010"/>
                  <a:gd name="connsiteY1" fmla="*/ 1649278 h 2011450"/>
                  <a:gd name="connsiteX2" fmla="*/ 768919 w 868010"/>
                  <a:gd name="connsiteY2" fmla="*/ 172903 h 2011450"/>
                  <a:gd name="connsiteX3" fmla="*/ 105979 w 868010"/>
                  <a:gd name="connsiteY3" fmla="*/ 97656 h 2011450"/>
                  <a:gd name="connsiteX4" fmla="*/ 35495 w 868010"/>
                  <a:gd name="connsiteY4" fmla="*/ 1321618 h 2011450"/>
                  <a:gd name="connsiteX5" fmla="*/ 526032 w 868010"/>
                  <a:gd name="connsiteY5" fmla="*/ 1999798 h 201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8010" h="2011450">
                    <a:moveTo>
                      <a:pt x="526032" y="1999798"/>
                    </a:moveTo>
                    <a:cubicBezTo>
                      <a:pt x="643190" y="1975033"/>
                      <a:pt x="826069" y="1932171"/>
                      <a:pt x="838452" y="1649278"/>
                    </a:cubicBezTo>
                    <a:cubicBezTo>
                      <a:pt x="850835" y="1367338"/>
                      <a:pt x="927987" y="352926"/>
                      <a:pt x="768919" y="172903"/>
                    </a:cubicBezTo>
                    <a:cubicBezTo>
                      <a:pt x="609852" y="-8072"/>
                      <a:pt x="305052" y="-69032"/>
                      <a:pt x="105979" y="97656"/>
                    </a:cubicBezTo>
                    <a:cubicBezTo>
                      <a:pt x="-93093" y="263391"/>
                      <a:pt x="52639" y="1125403"/>
                      <a:pt x="35495" y="1321618"/>
                    </a:cubicBezTo>
                    <a:cubicBezTo>
                      <a:pt x="17397" y="1517833"/>
                      <a:pt x="42162" y="2100763"/>
                      <a:pt x="526032" y="19997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 184">
                <a:extLst>
                  <a:ext uri="{FF2B5EF4-FFF2-40B4-BE49-F238E27FC236}">
                    <a16:creationId xmlns:a16="http://schemas.microsoft.com/office/drawing/2014/main" id="{5106A0EA-896B-CB77-B61C-7671FAC5E0C1}"/>
                  </a:ext>
                </a:extLst>
              </p:cNvPr>
              <p:cNvSpPr/>
              <p:nvPr/>
            </p:nvSpPr>
            <p:spPr>
              <a:xfrm>
                <a:off x="3702315" y="1480537"/>
                <a:ext cx="489368" cy="580319"/>
              </a:xfrm>
              <a:custGeom>
                <a:avLst/>
                <a:gdLst>
                  <a:gd name="connsiteX0" fmla="*/ 230556 w 489368"/>
                  <a:gd name="connsiteY0" fmla="*/ 579720 h 580319"/>
                  <a:gd name="connsiteX1" fmla="*/ 462966 w 489368"/>
                  <a:gd name="connsiteY1" fmla="*/ 432083 h 580319"/>
                  <a:gd name="connsiteX2" fmla="*/ 380099 w 489368"/>
                  <a:gd name="connsiteY2" fmla="*/ 32985 h 580319"/>
                  <a:gd name="connsiteX3" fmla="*/ 21006 w 489368"/>
                  <a:gd name="connsiteY3" fmla="*/ 136808 h 580319"/>
                  <a:gd name="connsiteX4" fmla="*/ 230556 w 489368"/>
                  <a:gd name="connsiteY4" fmla="*/ 579720 h 580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9368" h="580319">
                    <a:moveTo>
                      <a:pt x="230556" y="579720"/>
                    </a:moveTo>
                    <a:cubicBezTo>
                      <a:pt x="335331" y="573053"/>
                      <a:pt x="423914" y="542573"/>
                      <a:pt x="462966" y="432083"/>
                    </a:cubicBezTo>
                    <a:cubicBezTo>
                      <a:pt x="502019" y="321593"/>
                      <a:pt x="514401" y="113948"/>
                      <a:pt x="380099" y="32985"/>
                    </a:cubicBezTo>
                    <a:cubicBezTo>
                      <a:pt x="246749" y="-47977"/>
                      <a:pt x="58154" y="32985"/>
                      <a:pt x="21006" y="136808"/>
                    </a:cubicBezTo>
                    <a:cubicBezTo>
                      <a:pt x="-16141" y="241583"/>
                      <a:pt x="-33286" y="596865"/>
                      <a:pt x="230556" y="57972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 185">
                <a:extLst>
                  <a:ext uri="{FF2B5EF4-FFF2-40B4-BE49-F238E27FC236}">
                    <a16:creationId xmlns:a16="http://schemas.microsoft.com/office/drawing/2014/main" id="{0B8BD6D3-84C7-8C25-A59F-75891DBCFFBB}"/>
                  </a:ext>
                </a:extLst>
              </p:cNvPr>
              <p:cNvSpPr/>
              <p:nvPr/>
            </p:nvSpPr>
            <p:spPr>
              <a:xfrm>
                <a:off x="3653789" y="948689"/>
                <a:ext cx="150495" cy="1824037"/>
              </a:xfrm>
              <a:custGeom>
                <a:avLst/>
                <a:gdLst>
                  <a:gd name="connsiteX0" fmla="*/ 150495 w 150495"/>
                  <a:gd name="connsiteY0" fmla="*/ 1824038 h 1824037"/>
                  <a:gd name="connsiteX1" fmla="*/ 0 w 150495"/>
                  <a:gd name="connsiteY1" fmla="*/ 1824038 h 1824037"/>
                  <a:gd name="connsiteX2" fmla="*/ 51435 w 150495"/>
                  <a:gd name="connsiteY2" fmla="*/ 0 h 1824037"/>
                  <a:gd name="connsiteX3" fmla="*/ 99060 w 150495"/>
                  <a:gd name="connsiteY3" fmla="*/ 0 h 1824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495" h="1824037">
                    <a:moveTo>
                      <a:pt x="150495" y="1824038"/>
                    </a:moveTo>
                    <a:lnTo>
                      <a:pt x="0" y="1824038"/>
                    </a:lnTo>
                    <a:lnTo>
                      <a:pt x="51435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 186">
                <a:extLst>
                  <a:ext uri="{FF2B5EF4-FFF2-40B4-BE49-F238E27FC236}">
                    <a16:creationId xmlns:a16="http://schemas.microsoft.com/office/drawing/2014/main" id="{325AA8C7-F6B9-38DC-6F55-3175003A4918}"/>
                  </a:ext>
                </a:extLst>
              </p:cNvPr>
              <p:cNvSpPr/>
              <p:nvPr/>
            </p:nvSpPr>
            <p:spPr>
              <a:xfrm>
                <a:off x="3443804" y="838200"/>
                <a:ext cx="284279" cy="289560"/>
              </a:xfrm>
              <a:custGeom>
                <a:avLst/>
                <a:gdLst>
                  <a:gd name="connsiteX0" fmla="*/ 284280 w 284279"/>
                  <a:gd name="connsiteY0" fmla="*/ 235267 h 289560"/>
                  <a:gd name="connsiteX1" fmla="*/ 64252 w 284279"/>
                  <a:gd name="connsiteY1" fmla="*/ 0 h 289560"/>
                  <a:gd name="connsiteX2" fmla="*/ 435 w 284279"/>
                  <a:gd name="connsiteY2" fmla="*/ 20002 h 289560"/>
                  <a:gd name="connsiteX3" fmla="*/ 281422 w 284279"/>
                  <a:gd name="connsiteY3" fmla="*/ 289560 h 289560"/>
                  <a:gd name="connsiteX4" fmla="*/ 284280 w 284279"/>
                  <a:gd name="connsiteY4" fmla="*/ 235267 h 289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60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 187">
                <a:extLst>
                  <a:ext uri="{FF2B5EF4-FFF2-40B4-BE49-F238E27FC236}">
                    <a16:creationId xmlns:a16="http://schemas.microsoft.com/office/drawing/2014/main" id="{DC3531B5-95DF-0E14-CD45-BF50ECF0C337}"/>
                  </a:ext>
                </a:extLst>
              </p:cNvPr>
              <p:cNvSpPr/>
              <p:nvPr/>
            </p:nvSpPr>
            <p:spPr>
              <a:xfrm>
                <a:off x="3443804" y="1560195"/>
                <a:ext cx="284279" cy="289559"/>
              </a:xfrm>
              <a:custGeom>
                <a:avLst/>
                <a:gdLst>
                  <a:gd name="connsiteX0" fmla="*/ 284280 w 284279"/>
                  <a:gd name="connsiteY0" fmla="*/ 235267 h 289559"/>
                  <a:gd name="connsiteX1" fmla="*/ 64252 w 284279"/>
                  <a:gd name="connsiteY1" fmla="*/ 0 h 289559"/>
                  <a:gd name="connsiteX2" fmla="*/ 435 w 284279"/>
                  <a:gd name="connsiteY2" fmla="*/ 20002 h 289559"/>
                  <a:gd name="connsiteX3" fmla="*/ 281422 w 284279"/>
                  <a:gd name="connsiteY3" fmla="*/ 289560 h 289559"/>
                  <a:gd name="connsiteX4" fmla="*/ 284280 w 284279"/>
                  <a:gd name="connsiteY4" fmla="*/ 235267 h 289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59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 188">
                <a:extLst>
                  <a:ext uri="{FF2B5EF4-FFF2-40B4-BE49-F238E27FC236}">
                    <a16:creationId xmlns:a16="http://schemas.microsoft.com/office/drawing/2014/main" id="{E2A4489C-D121-070F-FF5E-0A9986841204}"/>
                  </a:ext>
                </a:extLst>
              </p:cNvPr>
              <p:cNvSpPr/>
              <p:nvPr/>
            </p:nvSpPr>
            <p:spPr>
              <a:xfrm>
                <a:off x="3724274" y="1116329"/>
                <a:ext cx="317182" cy="255270"/>
              </a:xfrm>
              <a:custGeom>
                <a:avLst/>
                <a:gdLst>
                  <a:gd name="connsiteX0" fmla="*/ 5715 w 317182"/>
                  <a:gd name="connsiteY0" fmla="*/ 200978 h 255270"/>
                  <a:gd name="connsiteX1" fmla="*/ 257175 w 317182"/>
                  <a:gd name="connsiteY1" fmla="*/ 0 h 255270"/>
                  <a:gd name="connsiteX2" fmla="*/ 317183 w 317182"/>
                  <a:gd name="connsiteY2" fmla="*/ 29528 h 255270"/>
                  <a:gd name="connsiteX3" fmla="*/ 0 w 317182"/>
                  <a:gd name="connsiteY3" fmla="*/ 255270 h 255270"/>
                  <a:gd name="connsiteX4" fmla="*/ 5715 w 317182"/>
                  <a:gd name="connsiteY4" fmla="*/ 200978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7182" h="255270">
                    <a:moveTo>
                      <a:pt x="5715" y="200978"/>
                    </a:moveTo>
                    <a:cubicBezTo>
                      <a:pt x="5715" y="200978"/>
                      <a:pt x="255270" y="248603"/>
                      <a:pt x="257175" y="0"/>
                    </a:cubicBezTo>
                    <a:lnTo>
                      <a:pt x="317183" y="29528"/>
                    </a:lnTo>
                    <a:cubicBezTo>
                      <a:pt x="317183" y="29528"/>
                      <a:pt x="308610" y="252413"/>
                      <a:pt x="0" y="255270"/>
                    </a:cubicBezTo>
                    <a:lnTo>
                      <a:pt x="5715" y="2009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 189">
                <a:extLst>
                  <a:ext uri="{FF2B5EF4-FFF2-40B4-BE49-F238E27FC236}">
                    <a16:creationId xmlns:a16="http://schemas.microsoft.com/office/drawing/2014/main" id="{9229FADB-D29B-0DB3-F276-1F3E7CB4E967}"/>
                  </a:ext>
                </a:extLst>
              </p:cNvPr>
              <p:cNvSpPr/>
              <p:nvPr/>
            </p:nvSpPr>
            <p:spPr>
              <a:xfrm>
                <a:off x="3741419" y="1302067"/>
                <a:ext cx="199239" cy="294322"/>
              </a:xfrm>
              <a:custGeom>
                <a:avLst/>
                <a:gdLst>
                  <a:gd name="connsiteX0" fmla="*/ 0 w 199239"/>
                  <a:gd name="connsiteY0" fmla="*/ 239078 h 294322"/>
                  <a:gd name="connsiteX1" fmla="*/ 155257 w 199239"/>
                  <a:gd name="connsiteY1" fmla="*/ 953 h 294322"/>
                  <a:gd name="connsiteX2" fmla="*/ 199072 w 199239"/>
                  <a:gd name="connsiteY2" fmla="*/ 0 h 294322"/>
                  <a:gd name="connsiteX3" fmla="*/ 952 w 199239"/>
                  <a:gd name="connsiteY3" fmla="*/ 294323 h 294322"/>
                  <a:gd name="connsiteX4" fmla="*/ 0 w 199239"/>
                  <a:gd name="connsiteY4" fmla="*/ 239078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8"/>
                    </a:moveTo>
                    <a:cubicBezTo>
                      <a:pt x="0" y="239078"/>
                      <a:pt x="175260" y="245745"/>
                      <a:pt x="155257" y="953"/>
                    </a:cubicBezTo>
                    <a:lnTo>
                      <a:pt x="199072" y="0"/>
                    </a:lnTo>
                    <a:cubicBezTo>
                      <a:pt x="199072" y="0"/>
                      <a:pt x="212408" y="240983"/>
                      <a:pt x="952" y="294323"/>
                    </a:cubicBezTo>
                    <a:lnTo>
                      <a:pt x="0" y="2390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 190">
                <a:extLst>
                  <a:ext uri="{FF2B5EF4-FFF2-40B4-BE49-F238E27FC236}">
                    <a16:creationId xmlns:a16="http://schemas.microsoft.com/office/drawing/2014/main" id="{11D83712-0150-A116-DB7E-DA13F85EFA2F}"/>
                  </a:ext>
                </a:extLst>
              </p:cNvPr>
              <p:cNvSpPr/>
              <p:nvPr/>
            </p:nvSpPr>
            <p:spPr>
              <a:xfrm>
                <a:off x="3741419" y="1663065"/>
                <a:ext cx="199239" cy="294322"/>
              </a:xfrm>
              <a:custGeom>
                <a:avLst/>
                <a:gdLst>
                  <a:gd name="connsiteX0" fmla="*/ 0 w 199239"/>
                  <a:gd name="connsiteY0" fmla="*/ 239077 h 294322"/>
                  <a:gd name="connsiteX1" fmla="*/ 155257 w 199239"/>
                  <a:gd name="connsiteY1" fmla="*/ 952 h 294322"/>
                  <a:gd name="connsiteX2" fmla="*/ 199072 w 199239"/>
                  <a:gd name="connsiteY2" fmla="*/ 0 h 294322"/>
                  <a:gd name="connsiteX3" fmla="*/ 952 w 199239"/>
                  <a:gd name="connsiteY3" fmla="*/ 294322 h 294322"/>
                  <a:gd name="connsiteX4" fmla="*/ 0 w 199239"/>
                  <a:gd name="connsiteY4" fmla="*/ 239077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7"/>
                    </a:moveTo>
                    <a:cubicBezTo>
                      <a:pt x="0" y="239077"/>
                      <a:pt x="175260" y="245745"/>
                      <a:pt x="155257" y="952"/>
                    </a:cubicBezTo>
                    <a:lnTo>
                      <a:pt x="199072" y="0"/>
                    </a:lnTo>
                    <a:cubicBezTo>
                      <a:pt x="199072" y="0"/>
                      <a:pt x="212408" y="240982"/>
                      <a:pt x="952" y="294322"/>
                    </a:cubicBezTo>
                    <a:lnTo>
                      <a:pt x="0" y="23907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 191">
                <a:extLst>
                  <a:ext uri="{FF2B5EF4-FFF2-40B4-BE49-F238E27FC236}">
                    <a16:creationId xmlns:a16="http://schemas.microsoft.com/office/drawing/2014/main" id="{D99E69D0-B8F3-69B6-3CD2-EE0473C2DAF1}"/>
                  </a:ext>
                </a:extLst>
              </p:cNvPr>
              <p:cNvSpPr/>
              <p:nvPr/>
            </p:nvSpPr>
            <p:spPr>
              <a:xfrm>
                <a:off x="3216962" y="326204"/>
                <a:ext cx="488947" cy="660283"/>
              </a:xfrm>
              <a:custGeom>
                <a:avLst/>
                <a:gdLst>
                  <a:gd name="connsiteX0" fmla="*/ 230135 w 488947"/>
                  <a:gd name="connsiteY0" fmla="*/ 659633 h 660283"/>
                  <a:gd name="connsiteX1" fmla="*/ 462545 w 488947"/>
                  <a:gd name="connsiteY1" fmla="*/ 491993 h 660283"/>
                  <a:gd name="connsiteX2" fmla="*/ 379677 w 488947"/>
                  <a:gd name="connsiteY2" fmla="*/ 37650 h 660283"/>
                  <a:gd name="connsiteX3" fmla="*/ 20585 w 488947"/>
                  <a:gd name="connsiteY3" fmla="*/ 155760 h 660283"/>
                  <a:gd name="connsiteX4" fmla="*/ 230135 w 488947"/>
                  <a:gd name="connsiteY4" fmla="*/ 659633 h 660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8947" h="660283">
                    <a:moveTo>
                      <a:pt x="230135" y="659633"/>
                    </a:moveTo>
                    <a:cubicBezTo>
                      <a:pt x="334910" y="652013"/>
                      <a:pt x="423492" y="617723"/>
                      <a:pt x="462545" y="491993"/>
                    </a:cubicBezTo>
                    <a:cubicBezTo>
                      <a:pt x="501597" y="366263"/>
                      <a:pt x="513980" y="130043"/>
                      <a:pt x="379677" y="37650"/>
                    </a:cubicBezTo>
                    <a:cubicBezTo>
                      <a:pt x="246327" y="-54742"/>
                      <a:pt x="57732" y="37650"/>
                      <a:pt x="20585" y="155760"/>
                    </a:cubicBezTo>
                    <a:cubicBezTo>
                      <a:pt x="-15610" y="273870"/>
                      <a:pt x="-33708" y="678683"/>
                      <a:pt x="230135" y="659633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 192">
                <a:extLst>
                  <a:ext uri="{FF2B5EF4-FFF2-40B4-BE49-F238E27FC236}">
                    <a16:creationId xmlns:a16="http://schemas.microsoft.com/office/drawing/2014/main" id="{D602609B-977C-4AB2-CAB6-1BFD6928C0B2}"/>
                  </a:ext>
                </a:extLst>
              </p:cNvPr>
              <p:cNvSpPr/>
              <p:nvPr/>
            </p:nvSpPr>
            <p:spPr>
              <a:xfrm>
                <a:off x="3871574" y="708915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 193">
                <a:extLst>
                  <a:ext uri="{FF2B5EF4-FFF2-40B4-BE49-F238E27FC236}">
                    <a16:creationId xmlns:a16="http://schemas.microsoft.com/office/drawing/2014/main" id="{54675573-AB2E-3D63-7C15-B0303F1B20F6}"/>
                  </a:ext>
                </a:extLst>
              </p:cNvPr>
              <p:cNvSpPr/>
              <p:nvPr/>
            </p:nvSpPr>
            <p:spPr>
              <a:xfrm>
                <a:off x="3242924" y="1171830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68641011-B90A-E089-4277-1269FB7D09E0}"/>
                </a:ext>
              </a:extLst>
            </p:cNvPr>
            <p:cNvGrpSpPr/>
            <p:nvPr/>
          </p:nvGrpSpPr>
          <p:grpSpPr>
            <a:xfrm>
              <a:off x="4118451" y="4450079"/>
              <a:ext cx="707707" cy="256222"/>
              <a:chOff x="4083366" y="2517457"/>
              <a:chExt cx="707707" cy="256222"/>
            </a:xfrm>
          </p:grpSpPr>
          <p:sp>
            <p:nvSpPr>
              <p:cNvPr id="52" name="任意多边形 196">
                <a:extLst>
                  <a:ext uri="{FF2B5EF4-FFF2-40B4-BE49-F238E27FC236}">
                    <a16:creationId xmlns:a16="http://schemas.microsoft.com/office/drawing/2014/main" id="{D5154B23-8E67-3DEE-4A42-B663068245B9}"/>
                  </a:ext>
                </a:extLst>
              </p:cNvPr>
              <p:cNvSpPr/>
              <p:nvPr/>
            </p:nvSpPr>
            <p:spPr>
              <a:xfrm>
                <a:off x="4195762" y="2517457"/>
                <a:ext cx="510540" cy="255270"/>
              </a:xfrm>
              <a:custGeom>
                <a:avLst/>
                <a:gdLst>
                  <a:gd name="connsiteX0" fmla="*/ 255270 w 510540"/>
                  <a:gd name="connsiteY0" fmla="*/ 0 h 255270"/>
                  <a:gd name="connsiteX1" fmla="*/ 0 w 510540"/>
                  <a:gd name="connsiteY1" fmla="*/ 255270 h 255270"/>
                  <a:gd name="connsiteX2" fmla="*/ 510540 w 510540"/>
                  <a:gd name="connsiteY2" fmla="*/ 255270 h 255270"/>
                  <a:gd name="connsiteX3" fmla="*/ 255270 w 510540"/>
                  <a:gd name="connsiteY3" fmla="*/ 0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0540" h="255270">
                    <a:moveTo>
                      <a:pt x="255270" y="0"/>
                    </a:moveTo>
                    <a:cubicBezTo>
                      <a:pt x="114300" y="0"/>
                      <a:pt x="0" y="114300"/>
                      <a:pt x="0" y="255270"/>
                    </a:cubicBezTo>
                    <a:lnTo>
                      <a:pt x="510540" y="255270"/>
                    </a:lnTo>
                    <a:cubicBezTo>
                      <a:pt x="510540" y="114300"/>
                      <a:pt x="396240" y="0"/>
                      <a:pt x="255270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 197">
                <a:extLst>
                  <a:ext uri="{FF2B5EF4-FFF2-40B4-BE49-F238E27FC236}">
                    <a16:creationId xmlns:a16="http://schemas.microsoft.com/office/drawing/2014/main" id="{8AD2BD82-209E-26BD-0B77-846320860A18}"/>
                  </a:ext>
                </a:extLst>
              </p:cNvPr>
              <p:cNvSpPr/>
              <p:nvPr/>
            </p:nvSpPr>
            <p:spPr>
              <a:xfrm>
                <a:off x="4083366" y="2619375"/>
                <a:ext cx="307657" cy="154305"/>
              </a:xfrm>
              <a:custGeom>
                <a:avLst/>
                <a:gdLst>
                  <a:gd name="connsiteX0" fmla="*/ 154305 w 307657"/>
                  <a:gd name="connsiteY0" fmla="*/ 0 h 154305"/>
                  <a:gd name="connsiteX1" fmla="*/ 0 w 307657"/>
                  <a:gd name="connsiteY1" fmla="*/ 154305 h 154305"/>
                  <a:gd name="connsiteX2" fmla="*/ 307658 w 307657"/>
                  <a:gd name="connsiteY2" fmla="*/ 154305 h 154305"/>
                  <a:gd name="connsiteX3" fmla="*/ 154305 w 307657"/>
                  <a:gd name="connsiteY3" fmla="*/ 0 h 154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7657" h="154305">
                    <a:moveTo>
                      <a:pt x="154305" y="0"/>
                    </a:moveTo>
                    <a:cubicBezTo>
                      <a:pt x="69533" y="0"/>
                      <a:pt x="0" y="68580"/>
                      <a:pt x="0" y="154305"/>
                    </a:cubicBezTo>
                    <a:lnTo>
                      <a:pt x="307658" y="154305"/>
                    </a:lnTo>
                    <a:cubicBezTo>
                      <a:pt x="307658" y="68580"/>
                      <a:pt x="239078" y="0"/>
                      <a:pt x="15430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 198">
                <a:extLst>
                  <a:ext uri="{FF2B5EF4-FFF2-40B4-BE49-F238E27FC236}">
                    <a16:creationId xmlns:a16="http://schemas.microsoft.com/office/drawing/2014/main" id="{18F16F46-2591-921D-7C7B-CDECA985F903}"/>
                  </a:ext>
                </a:extLst>
              </p:cNvPr>
              <p:cNvSpPr/>
              <p:nvPr/>
            </p:nvSpPr>
            <p:spPr>
              <a:xfrm>
                <a:off x="4277677" y="2664142"/>
                <a:ext cx="217169" cy="108584"/>
              </a:xfrm>
              <a:custGeom>
                <a:avLst/>
                <a:gdLst>
                  <a:gd name="connsiteX0" fmla="*/ 108585 w 217169"/>
                  <a:gd name="connsiteY0" fmla="*/ 0 h 108584"/>
                  <a:gd name="connsiteX1" fmla="*/ 0 w 217169"/>
                  <a:gd name="connsiteY1" fmla="*/ 108585 h 108584"/>
                  <a:gd name="connsiteX2" fmla="*/ 217170 w 217169"/>
                  <a:gd name="connsiteY2" fmla="*/ 108585 h 108584"/>
                  <a:gd name="connsiteX3" fmla="*/ 108585 w 217169"/>
                  <a:gd name="connsiteY3" fmla="*/ 0 h 108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7169" h="108584">
                    <a:moveTo>
                      <a:pt x="108585" y="0"/>
                    </a:moveTo>
                    <a:cubicBezTo>
                      <a:pt x="48577" y="0"/>
                      <a:pt x="0" y="48577"/>
                      <a:pt x="0" y="108585"/>
                    </a:cubicBezTo>
                    <a:lnTo>
                      <a:pt x="217170" y="108585"/>
                    </a:lnTo>
                    <a:cubicBezTo>
                      <a:pt x="217170" y="48577"/>
                      <a:pt x="168592" y="0"/>
                      <a:pt x="10858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 199">
                <a:extLst>
                  <a:ext uri="{FF2B5EF4-FFF2-40B4-BE49-F238E27FC236}">
                    <a16:creationId xmlns:a16="http://schemas.microsoft.com/office/drawing/2014/main" id="{1CA7C18D-A455-0A92-D20E-401FCB3EF342}"/>
                  </a:ext>
                </a:extLst>
              </p:cNvPr>
              <p:cNvSpPr/>
              <p:nvPr/>
            </p:nvSpPr>
            <p:spPr>
              <a:xfrm>
                <a:off x="4589144" y="2671762"/>
                <a:ext cx="201929" cy="100965"/>
              </a:xfrm>
              <a:custGeom>
                <a:avLst/>
                <a:gdLst>
                  <a:gd name="connsiteX0" fmla="*/ 100965 w 201929"/>
                  <a:gd name="connsiteY0" fmla="*/ 0 h 100965"/>
                  <a:gd name="connsiteX1" fmla="*/ 0 w 201929"/>
                  <a:gd name="connsiteY1" fmla="*/ 100965 h 100965"/>
                  <a:gd name="connsiteX2" fmla="*/ 201930 w 201929"/>
                  <a:gd name="connsiteY2" fmla="*/ 100965 h 100965"/>
                  <a:gd name="connsiteX3" fmla="*/ 100965 w 201929"/>
                  <a:gd name="connsiteY3" fmla="*/ 0 h 100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1929" h="100965">
                    <a:moveTo>
                      <a:pt x="100965" y="0"/>
                    </a:moveTo>
                    <a:cubicBezTo>
                      <a:pt x="45720" y="0"/>
                      <a:pt x="0" y="44768"/>
                      <a:pt x="0" y="100965"/>
                    </a:cubicBezTo>
                    <a:lnTo>
                      <a:pt x="201930" y="100965"/>
                    </a:lnTo>
                    <a:cubicBezTo>
                      <a:pt x="201930" y="45720"/>
                      <a:pt x="157163" y="0"/>
                      <a:pt x="100965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1B1C0826-5D5E-A128-5F40-C8E6137DBFE7}"/>
                </a:ext>
              </a:extLst>
            </p:cNvPr>
            <p:cNvGrpSpPr/>
            <p:nvPr/>
          </p:nvGrpSpPr>
          <p:grpSpPr>
            <a:xfrm>
              <a:off x="7536022" y="4531994"/>
              <a:ext cx="482917" cy="174307"/>
              <a:chOff x="7500937" y="2599372"/>
              <a:chExt cx="482917" cy="174307"/>
            </a:xfrm>
          </p:grpSpPr>
          <p:sp>
            <p:nvSpPr>
              <p:cNvPr id="48" name="任意多边形 201">
                <a:extLst>
                  <a:ext uri="{FF2B5EF4-FFF2-40B4-BE49-F238E27FC236}">
                    <a16:creationId xmlns:a16="http://schemas.microsoft.com/office/drawing/2014/main" id="{C7BD3E5C-09D4-DE5F-FB57-B6BD984036C9}"/>
                  </a:ext>
                </a:extLst>
              </p:cNvPr>
              <p:cNvSpPr/>
              <p:nvPr/>
            </p:nvSpPr>
            <p:spPr>
              <a:xfrm>
                <a:off x="7578089" y="2599372"/>
                <a:ext cx="347662" cy="174307"/>
              </a:xfrm>
              <a:custGeom>
                <a:avLst/>
                <a:gdLst>
                  <a:gd name="connsiteX0" fmla="*/ 174308 w 347662"/>
                  <a:gd name="connsiteY0" fmla="*/ 0 h 174307"/>
                  <a:gd name="connsiteX1" fmla="*/ 0 w 347662"/>
                  <a:gd name="connsiteY1" fmla="*/ 174308 h 174307"/>
                  <a:gd name="connsiteX2" fmla="*/ 347662 w 347662"/>
                  <a:gd name="connsiteY2" fmla="*/ 174308 h 174307"/>
                  <a:gd name="connsiteX3" fmla="*/ 174308 w 347662"/>
                  <a:gd name="connsiteY3" fmla="*/ 0 h 17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7662" h="174307">
                    <a:moveTo>
                      <a:pt x="174308" y="0"/>
                    </a:moveTo>
                    <a:cubicBezTo>
                      <a:pt x="78105" y="0"/>
                      <a:pt x="0" y="78105"/>
                      <a:pt x="0" y="174308"/>
                    </a:cubicBezTo>
                    <a:lnTo>
                      <a:pt x="347662" y="174308"/>
                    </a:lnTo>
                    <a:cubicBezTo>
                      <a:pt x="347662" y="77153"/>
                      <a:pt x="269558" y="0"/>
                      <a:pt x="174308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 202">
                <a:extLst>
                  <a:ext uri="{FF2B5EF4-FFF2-40B4-BE49-F238E27FC236}">
                    <a16:creationId xmlns:a16="http://schemas.microsoft.com/office/drawing/2014/main" id="{9DBED9F7-2C50-C805-A540-3BCF6AEAA3C8}"/>
                  </a:ext>
                </a:extLst>
              </p:cNvPr>
              <p:cNvSpPr/>
              <p:nvPr/>
            </p:nvSpPr>
            <p:spPr>
              <a:xfrm>
                <a:off x="7500937" y="2667952"/>
                <a:ext cx="209550" cy="104775"/>
              </a:xfrm>
              <a:custGeom>
                <a:avLst/>
                <a:gdLst>
                  <a:gd name="connsiteX0" fmla="*/ 104775 w 209550"/>
                  <a:gd name="connsiteY0" fmla="*/ 0 h 104775"/>
                  <a:gd name="connsiteX1" fmla="*/ 0 w 209550"/>
                  <a:gd name="connsiteY1" fmla="*/ 104775 h 104775"/>
                  <a:gd name="connsiteX2" fmla="*/ 209550 w 209550"/>
                  <a:gd name="connsiteY2" fmla="*/ 104775 h 104775"/>
                  <a:gd name="connsiteX3" fmla="*/ 104775 w 209550"/>
                  <a:gd name="connsiteY3" fmla="*/ 0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50" h="104775">
                    <a:moveTo>
                      <a:pt x="104775" y="0"/>
                    </a:moveTo>
                    <a:cubicBezTo>
                      <a:pt x="46672" y="0"/>
                      <a:pt x="0" y="46672"/>
                      <a:pt x="0" y="104775"/>
                    </a:cubicBezTo>
                    <a:lnTo>
                      <a:pt x="209550" y="104775"/>
                    </a:lnTo>
                    <a:cubicBezTo>
                      <a:pt x="209550" y="47625"/>
                      <a:pt x="162877" y="0"/>
                      <a:pt x="10477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 203">
                <a:extLst>
                  <a:ext uri="{FF2B5EF4-FFF2-40B4-BE49-F238E27FC236}">
                    <a16:creationId xmlns:a16="http://schemas.microsoft.com/office/drawing/2014/main" id="{2B325BF3-81FA-6DD5-779C-EA81A9AC21FF}"/>
                  </a:ext>
                </a:extLst>
              </p:cNvPr>
              <p:cNvSpPr/>
              <p:nvPr/>
            </p:nvSpPr>
            <p:spPr>
              <a:xfrm>
                <a:off x="7633334" y="2699384"/>
                <a:ext cx="147637" cy="74295"/>
              </a:xfrm>
              <a:custGeom>
                <a:avLst/>
                <a:gdLst>
                  <a:gd name="connsiteX0" fmla="*/ 74295 w 147637"/>
                  <a:gd name="connsiteY0" fmla="*/ 0 h 74295"/>
                  <a:gd name="connsiteX1" fmla="*/ 0 w 147637"/>
                  <a:gd name="connsiteY1" fmla="*/ 74295 h 74295"/>
                  <a:gd name="connsiteX2" fmla="*/ 147638 w 147637"/>
                  <a:gd name="connsiteY2" fmla="*/ 74295 h 74295"/>
                  <a:gd name="connsiteX3" fmla="*/ 74295 w 147637"/>
                  <a:gd name="connsiteY3" fmla="*/ 0 h 74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7637" h="74295">
                    <a:moveTo>
                      <a:pt x="74295" y="0"/>
                    </a:moveTo>
                    <a:cubicBezTo>
                      <a:pt x="33338" y="0"/>
                      <a:pt x="0" y="33338"/>
                      <a:pt x="0" y="74295"/>
                    </a:cubicBezTo>
                    <a:lnTo>
                      <a:pt x="147638" y="74295"/>
                    </a:lnTo>
                    <a:cubicBezTo>
                      <a:pt x="147638" y="32385"/>
                      <a:pt x="115252" y="0"/>
                      <a:pt x="7429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 204">
                <a:extLst>
                  <a:ext uri="{FF2B5EF4-FFF2-40B4-BE49-F238E27FC236}">
                    <a16:creationId xmlns:a16="http://schemas.microsoft.com/office/drawing/2014/main" id="{E0BABA65-48E6-E7A1-450A-524CECA5BAC8}"/>
                  </a:ext>
                </a:extLst>
              </p:cNvPr>
              <p:cNvSpPr/>
              <p:nvPr/>
            </p:nvSpPr>
            <p:spPr>
              <a:xfrm>
                <a:off x="7846694" y="2704147"/>
                <a:ext cx="137160" cy="68580"/>
              </a:xfrm>
              <a:custGeom>
                <a:avLst/>
                <a:gdLst>
                  <a:gd name="connsiteX0" fmla="*/ 68580 w 137160"/>
                  <a:gd name="connsiteY0" fmla="*/ 0 h 68580"/>
                  <a:gd name="connsiteX1" fmla="*/ 0 w 137160"/>
                  <a:gd name="connsiteY1" fmla="*/ 68580 h 68580"/>
                  <a:gd name="connsiteX2" fmla="*/ 137160 w 137160"/>
                  <a:gd name="connsiteY2" fmla="*/ 68580 h 68580"/>
                  <a:gd name="connsiteX3" fmla="*/ 68580 w 137160"/>
                  <a:gd name="connsiteY3" fmla="*/ 0 h 68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160" h="68580">
                    <a:moveTo>
                      <a:pt x="68580" y="0"/>
                    </a:moveTo>
                    <a:cubicBezTo>
                      <a:pt x="30480" y="0"/>
                      <a:pt x="0" y="30480"/>
                      <a:pt x="0" y="68580"/>
                    </a:cubicBezTo>
                    <a:lnTo>
                      <a:pt x="137160" y="68580"/>
                    </a:lnTo>
                    <a:cubicBezTo>
                      <a:pt x="137160" y="30480"/>
                      <a:pt x="105728" y="0"/>
                      <a:pt x="6858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7BEDED7B-3F8E-AC69-5F91-8EA761B82CC8}"/>
                </a:ext>
              </a:extLst>
            </p:cNvPr>
            <p:cNvGrpSpPr/>
            <p:nvPr/>
          </p:nvGrpSpPr>
          <p:grpSpPr>
            <a:xfrm>
              <a:off x="4761389" y="3611879"/>
              <a:ext cx="647700" cy="1093470"/>
              <a:chOff x="4726304" y="1679257"/>
              <a:chExt cx="647700" cy="1093470"/>
            </a:xfrm>
          </p:grpSpPr>
          <p:sp>
            <p:nvSpPr>
              <p:cNvPr id="44" name="任意多边形 207">
                <a:extLst>
                  <a:ext uri="{FF2B5EF4-FFF2-40B4-BE49-F238E27FC236}">
                    <a16:creationId xmlns:a16="http://schemas.microsoft.com/office/drawing/2014/main" id="{D9B5E869-10B7-2ED9-092E-CB5D30419FEC}"/>
                  </a:ext>
                </a:extLst>
              </p:cNvPr>
              <p:cNvSpPr/>
              <p:nvPr/>
            </p:nvSpPr>
            <p:spPr>
              <a:xfrm>
                <a:off x="5007291" y="2360295"/>
                <a:ext cx="85725" cy="412432"/>
              </a:xfrm>
              <a:custGeom>
                <a:avLst/>
                <a:gdLst>
                  <a:gd name="connsiteX0" fmla="*/ 0 w 85725"/>
                  <a:gd name="connsiteY0" fmla="*/ 412433 h 412432"/>
                  <a:gd name="connsiteX1" fmla="*/ 85725 w 85725"/>
                  <a:gd name="connsiteY1" fmla="*/ 412433 h 412432"/>
                  <a:gd name="connsiteX2" fmla="*/ 75248 w 85725"/>
                  <a:gd name="connsiteY2" fmla="*/ 0 h 412432"/>
                  <a:gd name="connsiteX3" fmla="*/ 15240 w 85725"/>
                  <a:gd name="connsiteY3" fmla="*/ 0 h 412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5" h="412432">
                    <a:moveTo>
                      <a:pt x="0" y="412433"/>
                    </a:moveTo>
                    <a:lnTo>
                      <a:pt x="85725" y="412433"/>
                    </a:lnTo>
                    <a:lnTo>
                      <a:pt x="75248" y="0"/>
                    </a:lnTo>
                    <a:lnTo>
                      <a:pt x="1524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 208">
                <a:extLst>
                  <a:ext uri="{FF2B5EF4-FFF2-40B4-BE49-F238E27FC236}">
                    <a16:creationId xmlns:a16="http://schemas.microsoft.com/office/drawing/2014/main" id="{7646E761-4204-F391-9DF2-B5626EA336AF}"/>
                  </a:ext>
                </a:extLst>
              </p:cNvPr>
              <p:cNvSpPr/>
              <p:nvPr/>
            </p:nvSpPr>
            <p:spPr>
              <a:xfrm>
                <a:off x="5028246" y="2368867"/>
                <a:ext cx="172031" cy="227647"/>
              </a:xfrm>
              <a:custGeom>
                <a:avLst/>
                <a:gdLst>
                  <a:gd name="connsiteX0" fmla="*/ 953 w 172031"/>
                  <a:gd name="connsiteY0" fmla="*/ 180023 h 227647"/>
                  <a:gd name="connsiteX1" fmla="*/ 125730 w 172031"/>
                  <a:gd name="connsiteY1" fmla="*/ 0 h 227647"/>
                  <a:gd name="connsiteX2" fmla="*/ 170497 w 172031"/>
                  <a:gd name="connsiteY2" fmla="*/ 7620 h 227647"/>
                  <a:gd name="connsiteX3" fmla="*/ 0 w 172031"/>
                  <a:gd name="connsiteY3" fmla="*/ 227648 h 227647"/>
                  <a:gd name="connsiteX4" fmla="*/ 953 w 172031"/>
                  <a:gd name="connsiteY4" fmla="*/ 180023 h 227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2031" h="227647">
                    <a:moveTo>
                      <a:pt x="953" y="180023"/>
                    </a:moveTo>
                    <a:cubicBezTo>
                      <a:pt x="953" y="180023"/>
                      <a:pt x="172403" y="161925"/>
                      <a:pt x="125730" y="0"/>
                    </a:cubicBezTo>
                    <a:lnTo>
                      <a:pt x="170497" y="7620"/>
                    </a:lnTo>
                    <a:cubicBezTo>
                      <a:pt x="170497" y="7620"/>
                      <a:pt x="200025" y="164783"/>
                      <a:pt x="0" y="227648"/>
                    </a:cubicBezTo>
                    <a:lnTo>
                      <a:pt x="953" y="180023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 209">
                <a:extLst>
                  <a:ext uri="{FF2B5EF4-FFF2-40B4-BE49-F238E27FC236}">
                    <a16:creationId xmlns:a16="http://schemas.microsoft.com/office/drawing/2014/main" id="{D08E45E5-B373-4CCC-461E-85D1EBFE28C0}"/>
                  </a:ext>
                </a:extLst>
              </p:cNvPr>
              <p:cNvSpPr/>
              <p:nvPr/>
            </p:nvSpPr>
            <p:spPr>
              <a:xfrm>
                <a:off x="4907258" y="2329815"/>
                <a:ext cx="142896" cy="184784"/>
              </a:xfrm>
              <a:custGeom>
                <a:avLst/>
                <a:gdLst>
                  <a:gd name="connsiteX0" fmla="*/ 36216 w 142896"/>
                  <a:gd name="connsiteY0" fmla="*/ 12382 h 184784"/>
                  <a:gd name="connsiteX1" fmla="*/ 142896 w 142896"/>
                  <a:gd name="connsiteY1" fmla="*/ 152400 h 184784"/>
                  <a:gd name="connsiteX2" fmla="*/ 125751 w 142896"/>
                  <a:gd name="connsiteY2" fmla="*/ 184785 h 184784"/>
                  <a:gd name="connsiteX3" fmla="*/ 21 w 142896"/>
                  <a:gd name="connsiteY3" fmla="*/ 0 h 184784"/>
                  <a:gd name="connsiteX4" fmla="*/ 36216 w 142896"/>
                  <a:gd name="connsiteY4" fmla="*/ 12382 h 184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896" h="184784">
                    <a:moveTo>
                      <a:pt x="36216" y="12382"/>
                    </a:moveTo>
                    <a:cubicBezTo>
                      <a:pt x="36216" y="12382"/>
                      <a:pt x="7641" y="148590"/>
                      <a:pt x="142896" y="152400"/>
                    </a:cubicBezTo>
                    <a:lnTo>
                      <a:pt x="125751" y="184785"/>
                    </a:lnTo>
                    <a:cubicBezTo>
                      <a:pt x="125751" y="184785"/>
                      <a:pt x="-1884" y="168592"/>
                      <a:pt x="21" y="0"/>
                    </a:cubicBezTo>
                    <a:lnTo>
                      <a:pt x="36216" y="12382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 210">
                <a:extLst>
                  <a:ext uri="{FF2B5EF4-FFF2-40B4-BE49-F238E27FC236}">
                    <a16:creationId xmlns:a16="http://schemas.microsoft.com/office/drawing/2014/main" id="{51855C90-C88F-7A58-6DC6-674CB5B7690C}"/>
                  </a:ext>
                </a:extLst>
              </p:cNvPr>
              <p:cNvSpPr/>
              <p:nvPr/>
            </p:nvSpPr>
            <p:spPr>
              <a:xfrm>
                <a:off x="4726304" y="1679257"/>
                <a:ext cx="647700" cy="770572"/>
              </a:xfrm>
              <a:custGeom>
                <a:avLst/>
                <a:gdLst>
                  <a:gd name="connsiteX0" fmla="*/ 647700 w 647700"/>
                  <a:gd name="connsiteY0" fmla="*/ 425767 h 770572"/>
                  <a:gd name="connsiteX1" fmla="*/ 323850 w 647700"/>
                  <a:gd name="connsiteY1" fmla="*/ 770572 h 770572"/>
                  <a:gd name="connsiteX2" fmla="*/ 0 w 647700"/>
                  <a:gd name="connsiteY2" fmla="*/ 425767 h 770572"/>
                  <a:gd name="connsiteX3" fmla="*/ 323850 w 647700"/>
                  <a:gd name="connsiteY3" fmla="*/ 0 h 770572"/>
                  <a:gd name="connsiteX4" fmla="*/ 647700 w 647700"/>
                  <a:gd name="connsiteY4" fmla="*/ 425767 h 770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7700" h="770572">
                    <a:moveTo>
                      <a:pt x="647700" y="425767"/>
                    </a:moveTo>
                    <a:cubicBezTo>
                      <a:pt x="647700" y="661035"/>
                      <a:pt x="502920" y="770572"/>
                      <a:pt x="323850" y="770572"/>
                    </a:cubicBezTo>
                    <a:cubicBezTo>
                      <a:pt x="144780" y="770572"/>
                      <a:pt x="0" y="661988"/>
                      <a:pt x="0" y="425767"/>
                    </a:cubicBezTo>
                    <a:cubicBezTo>
                      <a:pt x="0" y="190500"/>
                      <a:pt x="144780" y="0"/>
                      <a:pt x="323850" y="0"/>
                    </a:cubicBezTo>
                    <a:cubicBezTo>
                      <a:pt x="502920" y="0"/>
                      <a:pt x="647700" y="190500"/>
                      <a:pt x="647700" y="425767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08C872B6-A81B-436C-4C8D-3BA6D8478693}"/>
                </a:ext>
              </a:extLst>
            </p:cNvPr>
            <p:cNvGrpSpPr/>
            <p:nvPr/>
          </p:nvGrpSpPr>
          <p:grpSpPr>
            <a:xfrm>
              <a:off x="6647339" y="4319587"/>
              <a:ext cx="757237" cy="386715"/>
              <a:chOff x="6612254" y="2386965"/>
              <a:chExt cx="757237" cy="386715"/>
            </a:xfrm>
          </p:grpSpPr>
          <p:sp>
            <p:nvSpPr>
              <p:cNvPr id="40" name="任意多边形 213">
                <a:extLst>
                  <a:ext uri="{FF2B5EF4-FFF2-40B4-BE49-F238E27FC236}">
                    <a16:creationId xmlns:a16="http://schemas.microsoft.com/office/drawing/2014/main" id="{2C39F426-E0C4-8751-E940-E13DE8FC9F8C}"/>
                  </a:ext>
                </a:extLst>
              </p:cNvPr>
              <p:cNvSpPr/>
              <p:nvPr/>
            </p:nvSpPr>
            <p:spPr>
              <a:xfrm>
                <a:off x="6612254" y="2611754"/>
                <a:ext cx="181927" cy="160972"/>
              </a:xfrm>
              <a:custGeom>
                <a:avLst/>
                <a:gdLst>
                  <a:gd name="connsiteX0" fmla="*/ 181927 w 181927"/>
                  <a:gd name="connsiteY0" fmla="*/ 18098 h 160972"/>
                  <a:gd name="connsiteX1" fmla="*/ 178117 w 181927"/>
                  <a:gd name="connsiteY1" fmla="*/ 4763 h 160972"/>
                  <a:gd name="connsiteX2" fmla="*/ 147638 w 181927"/>
                  <a:gd name="connsiteY2" fmla="*/ 0 h 160972"/>
                  <a:gd name="connsiteX3" fmla="*/ 0 w 181927"/>
                  <a:gd name="connsiteY3" fmla="*/ 160973 h 160972"/>
                  <a:gd name="connsiteX4" fmla="*/ 87630 w 181927"/>
                  <a:gd name="connsiteY4" fmla="*/ 160973 h 160972"/>
                  <a:gd name="connsiteX5" fmla="*/ 181927 w 181927"/>
                  <a:gd name="connsiteY5" fmla="*/ 18098 h 160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1927" h="160972">
                    <a:moveTo>
                      <a:pt x="181927" y="18098"/>
                    </a:moveTo>
                    <a:cubicBezTo>
                      <a:pt x="180975" y="14288"/>
                      <a:pt x="179070" y="9525"/>
                      <a:pt x="178117" y="4763"/>
                    </a:cubicBezTo>
                    <a:cubicBezTo>
                      <a:pt x="168592" y="1905"/>
                      <a:pt x="158115" y="0"/>
                      <a:pt x="147638" y="0"/>
                    </a:cubicBezTo>
                    <a:cubicBezTo>
                      <a:pt x="79057" y="0"/>
                      <a:pt x="20002" y="67627"/>
                      <a:pt x="0" y="160973"/>
                    </a:cubicBezTo>
                    <a:lnTo>
                      <a:pt x="87630" y="160973"/>
                    </a:lnTo>
                    <a:cubicBezTo>
                      <a:pt x="112395" y="103823"/>
                      <a:pt x="144780" y="55245"/>
                      <a:pt x="181927" y="180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 214">
                <a:extLst>
                  <a:ext uri="{FF2B5EF4-FFF2-40B4-BE49-F238E27FC236}">
                    <a16:creationId xmlns:a16="http://schemas.microsoft.com/office/drawing/2014/main" id="{9DFBF52A-6B2D-A205-6294-4412F20E1D86}"/>
                  </a:ext>
                </a:extLst>
              </p:cNvPr>
              <p:cNvSpPr/>
              <p:nvPr/>
            </p:nvSpPr>
            <p:spPr>
              <a:xfrm>
                <a:off x="6781799" y="2386965"/>
                <a:ext cx="313372" cy="340994"/>
              </a:xfrm>
              <a:custGeom>
                <a:avLst/>
                <a:gdLst>
                  <a:gd name="connsiteX0" fmla="*/ 170497 w 313372"/>
                  <a:gd name="connsiteY0" fmla="*/ 262890 h 340994"/>
                  <a:gd name="connsiteX1" fmla="*/ 313372 w 313372"/>
                  <a:gd name="connsiteY1" fmla="*/ 131445 h 340994"/>
                  <a:gd name="connsiteX2" fmla="*/ 166688 w 313372"/>
                  <a:gd name="connsiteY2" fmla="*/ 0 h 340994"/>
                  <a:gd name="connsiteX3" fmla="*/ 0 w 313372"/>
                  <a:gd name="connsiteY3" fmla="*/ 250507 h 340994"/>
                  <a:gd name="connsiteX4" fmla="*/ 9525 w 313372"/>
                  <a:gd name="connsiteY4" fmla="*/ 327660 h 340994"/>
                  <a:gd name="connsiteX5" fmla="*/ 13335 w 313372"/>
                  <a:gd name="connsiteY5" fmla="*/ 340995 h 340994"/>
                  <a:gd name="connsiteX6" fmla="*/ 170497 w 313372"/>
                  <a:gd name="connsiteY6" fmla="*/ 262890 h 340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3372" h="340994">
                    <a:moveTo>
                      <a:pt x="170497" y="262890"/>
                    </a:moveTo>
                    <a:cubicBezTo>
                      <a:pt x="204788" y="195263"/>
                      <a:pt x="255270" y="147638"/>
                      <a:pt x="313372" y="131445"/>
                    </a:cubicBezTo>
                    <a:cubicBezTo>
                      <a:pt x="284797" y="53340"/>
                      <a:pt x="230505" y="0"/>
                      <a:pt x="166688" y="0"/>
                    </a:cubicBezTo>
                    <a:cubicBezTo>
                      <a:pt x="74295" y="0"/>
                      <a:pt x="0" y="112395"/>
                      <a:pt x="0" y="250507"/>
                    </a:cubicBezTo>
                    <a:cubicBezTo>
                      <a:pt x="0" y="279082"/>
                      <a:pt x="2857" y="304800"/>
                      <a:pt x="9525" y="327660"/>
                    </a:cubicBezTo>
                    <a:cubicBezTo>
                      <a:pt x="10478" y="332422"/>
                      <a:pt x="12382" y="336232"/>
                      <a:pt x="13335" y="340995"/>
                    </a:cubicBezTo>
                    <a:cubicBezTo>
                      <a:pt x="58103" y="295275"/>
                      <a:pt x="112395" y="267652"/>
                      <a:pt x="170497" y="262890"/>
                    </a:cubicBezTo>
                    <a:close/>
                  </a:path>
                </a:pathLst>
              </a:custGeom>
              <a:solidFill>
                <a:srgbClr val="3BA24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 215">
                <a:extLst>
                  <a:ext uri="{FF2B5EF4-FFF2-40B4-BE49-F238E27FC236}">
                    <a16:creationId xmlns:a16="http://schemas.microsoft.com/office/drawing/2014/main" id="{23BA41A5-9B3A-4FEE-4BE5-EB29A7282B2A}"/>
                  </a:ext>
                </a:extLst>
              </p:cNvPr>
              <p:cNvSpPr/>
              <p:nvPr/>
            </p:nvSpPr>
            <p:spPr>
              <a:xfrm>
                <a:off x="6952296" y="2413634"/>
                <a:ext cx="417195" cy="359092"/>
              </a:xfrm>
              <a:custGeom>
                <a:avLst/>
                <a:gdLst>
                  <a:gd name="connsiteX0" fmla="*/ 0 w 417195"/>
                  <a:gd name="connsiteY0" fmla="*/ 138113 h 359092"/>
                  <a:gd name="connsiteX1" fmla="*/ 18097 w 417195"/>
                  <a:gd name="connsiteY1" fmla="*/ 137160 h 359092"/>
                  <a:gd name="connsiteX2" fmla="*/ 287655 w 417195"/>
                  <a:gd name="connsiteY2" fmla="*/ 359093 h 359092"/>
                  <a:gd name="connsiteX3" fmla="*/ 417195 w 417195"/>
                  <a:gd name="connsiteY3" fmla="*/ 359093 h 359092"/>
                  <a:gd name="connsiteX4" fmla="*/ 417195 w 417195"/>
                  <a:gd name="connsiteY4" fmla="*/ 350520 h 359092"/>
                  <a:gd name="connsiteX5" fmla="*/ 184785 w 417195"/>
                  <a:gd name="connsiteY5" fmla="*/ 0 h 359092"/>
                  <a:gd name="connsiteX6" fmla="*/ 142875 w 417195"/>
                  <a:gd name="connsiteY6" fmla="*/ 5715 h 359092"/>
                  <a:gd name="connsiteX7" fmla="*/ 0 w 417195"/>
                  <a:gd name="connsiteY7" fmla="*/ 138113 h 359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195" h="359092">
                    <a:moveTo>
                      <a:pt x="0" y="138113"/>
                    </a:moveTo>
                    <a:cubicBezTo>
                      <a:pt x="5715" y="137160"/>
                      <a:pt x="11430" y="137160"/>
                      <a:pt x="18097" y="137160"/>
                    </a:cubicBezTo>
                    <a:cubicBezTo>
                      <a:pt x="131445" y="137160"/>
                      <a:pt x="230505" y="225743"/>
                      <a:pt x="287655" y="359093"/>
                    </a:cubicBezTo>
                    <a:lnTo>
                      <a:pt x="417195" y="359093"/>
                    </a:lnTo>
                    <a:cubicBezTo>
                      <a:pt x="417195" y="356235"/>
                      <a:pt x="417195" y="353378"/>
                      <a:pt x="417195" y="350520"/>
                    </a:cubicBezTo>
                    <a:cubicBezTo>
                      <a:pt x="417195" y="157163"/>
                      <a:pt x="313372" y="0"/>
                      <a:pt x="184785" y="0"/>
                    </a:cubicBezTo>
                    <a:cubicBezTo>
                      <a:pt x="170497" y="0"/>
                      <a:pt x="156210" y="1905"/>
                      <a:pt x="142875" y="5715"/>
                    </a:cubicBezTo>
                    <a:cubicBezTo>
                      <a:pt x="84772" y="22860"/>
                      <a:pt x="34290" y="70485"/>
                      <a:pt x="0" y="138113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 216">
                <a:extLst>
                  <a:ext uri="{FF2B5EF4-FFF2-40B4-BE49-F238E27FC236}">
                    <a16:creationId xmlns:a16="http://schemas.microsoft.com/office/drawing/2014/main" id="{95DB50E9-D970-8CB7-270A-96F5E64142C3}"/>
                  </a:ext>
                </a:extLst>
              </p:cNvPr>
              <p:cNvSpPr/>
              <p:nvPr/>
            </p:nvSpPr>
            <p:spPr>
              <a:xfrm>
                <a:off x="6699884" y="2550795"/>
                <a:ext cx="540067" cy="222885"/>
              </a:xfrm>
              <a:custGeom>
                <a:avLst/>
                <a:gdLst>
                  <a:gd name="connsiteX0" fmla="*/ 270510 w 540067"/>
                  <a:gd name="connsiteY0" fmla="*/ 0 h 222885"/>
                  <a:gd name="connsiteX1" fmla="*/ 252413 w 540067"/>
                  <a:gd name="connsiteY1" fmla="*/ 952 h 222885"/>
                  <a:gd name="connsiteX2" fmla="*/ 94297 w 540067"/>
                  <a:gd name="connsiteY2" fmla="*/ 79058 h 222885"/>
                  <a:gd name="connsiteX3" fmla="*/ 0 w 540067"/>
                  <a:gd name="connsiteY3" fmla="*/ 222885 h 222885"/>
                  <a:gd name="connsiteX4" fmla="*/ 540068 w 540067"/>
                  <a:gd name="connsiteY4" fmla="*/ 222885 h 222885"/>
                  <a:gd name="connsiteX5" fmla="*/ 270510 w 540067"/>
                  <a:gd name="connsiteY5" fmla="*/ 0 h 222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0067" h="222885">
                    <a:moveTo>
                      <a:pt x="270510" y="0"/>
                    </a:moveTo>
                    <a:cubicBezTo>
                      <a:pt x="264795" y="0"/>
                      <a:pt x="258128" y="0"/>
                      <a:pt x="252413" y="952"/>
                    </a:cubicBezTo>
                    <a:cubicBezTo>
                      <a:pt x="194310" y="5715"/>
                      <a:pt x="140970" y="34290"/>
                      <a:pt x="94297" y="79058"/>
                    </a:cubicBezTo>
                    <a:cubicBezTo>
                      <a:pt x="56197" y="116205"/>
                      <a:pt x="24765" y="164783"/>
                      <a:pt x="0" y="222885"/>
                    </a:cubicBezTo>
                    <a:lnTo>
                      <a:pt x="540068" y="222885"/>
                    </a:lnTo>
                    <a:cubicBezTo>
                      <a:pt x="482918" y="88583"/>
                      <a:pt x="383858" y="0"/>
                      <a:pt x="27051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B2927576-C79E-15D9-F1C1-DF194B25D333}"/>
                </a:ext>
              </a:extLst>
            </p:cNvPr>
            <p:cNvGrpSpPr/>
            <p:nvPr/>
          </p:nvGrpSpPr>
          <p:grpSpPr>
            <a:xfrm>
              <a:off x="8914289" y="4138612"/>
              <a:ext cx="578168" cy="567690"/>
              <a:chOff x="8879204" y="2205990"/>
              <a:chExt cx="578168" cy="567690"/>
            </a:xfrm>
          </p:grpSpPr>
          <p:grpSp>
            <p:nvGrpSpPr>
              <p:cNvPr id="28" name="组合 27">
                <a:extLst>
                  <a:ext uri="{FF2B5EF4-FFF2-40B4-BE49-F238E27FC236}">
                    <a16:creationId xmlns:a16="http://schemas.microsoft.com/office/drawing/2014/main" id="{BD5E33B3-093E-1B12-84D3-46FE2FF77C54}"/>
                  </a:ext>
                </a:extLst>
              </p:cNvPr>
              <p:cNvGrpSpPr/>
              <p:nvPr/>
            </p:nvGrpSpPr>
            <p:grpSpPr>
              <a:xfrm>
                <a:off x="8879204" y="2205990"/>
                <a:ext cx="342900" cy="567690"/>
                <a:chOff x="8879204" y="2205990"/>
                <a:chExt cx="342900" cy="567690"/>
              </a:xfrm>
            </p:grpSpPr>
            <p:sp>
              <p:nvSpPr>
                <p:cNvPr id="34" name="任意多边形 220">
                  <a:extLst>
                    <a:ext uri="{FF2B5EF4-FFF2-40B4-BE49-F238E27FC236}">
                      <a16:creationId xmlns:a16="http://schemas.microsoft.com/office/drawing/2014/main" id="{B9595805-7EC3-1A10-2501-2F9C3A2DB640}"/>
                    </a:ext>
                  </a:extLst>
                </p:cNvPr>
                <p:cNvSpPr/>
                <p:nvPr/>
              </p:nvSpPr>
              <p:spPr>
                <a:xfrm>
                  <a:off x="9023984" y="2238375"/>
                  <a:ext cx="60007" cy="535305"/>
                </a:xfrm>
                <a:custGeom>
                  <a:avLst/>
                  <a:gdLst>
                    <a:gd name="connsiteX0" fmla="*/ 60007 w 60007"/>
                    <a:gd name="connsiteY0" fmla="*/ 535305 h 535305"/>
                    <a:gd name="connsiteX1" fmla="*/ 0 w 60007"/>
                    <a:gd name="connsiteY1" fmla="*/ 535305 h 535305"/>
                    <a:gd name="connsiteX2" fmla="*/ 20955 w 60007"/>
                    <a:gd name="connsiteY2" fmla="*/ 0 h 535305"/>
                    <a:gd name="connsiteX3" fmla="*/ 39052 w 60007"/>
                    <a:gd name="connsiteY3" fmla="*/ 0 h 535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007" h="535305">
                      <a:moveTo>
                        <a:pt x="60007" y="535305"/>
                      </a:moveTo>
                      <a:lnTo>
                        <a:pt x="0" y="535305"/>
                      </a:lnTo>
                      <a:lnTo>
                        <a:pt x="20955" y="0"/>
                      </a:lnTo>
                      <a:lnTo>
                        <a:pt x="39052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35" name="组合 34">
                  <a:extLst>
                    <a:ext uri="{FF2B5EF4-FFF2-40B4-BE49-F238E27FC236}">
                      <a16:creationId xmlns:a16="http://schemas.microsoft.com/office/drawing/2014/main" id="{D316F56F-367E-52ED-CE06-997A1AC8AA04}"/>
                    </a:ext>
                  </a:extLst>
                </p:cNvPr>
                <p:cNvGrpSpPr/>
                <p:nvPr/>
              </p:nvGrpSpPr>
              <p:grpSpPr>
                <a:xfrm>
                  <a:off x="8879204" y="2205990"/>
                  <a:ext cx="342900" cy="567690"/>
                  <a:chOff x="8879204" y="2205990"/>
                  <a:chExt cx="342900" cy="567690"/>
                </a:xfrm>
              </p:grpSpPr>
              <p:sp>
                <p:nvSpPr>
                  <p:cNvPr id="36" name="任意多边形 222">
                    <a:extLst>
                      <a:ext uri="{FF2B5EF4-FFF2-40B4-BE49-F238E27FC236}">
                        <a16:creationId xmlns:a16="http://schemas.microsoft.com/office/drawing/2014/main" id="{7FA613C3-662C-FC6D-95F6-BDD0F5690753}"/>
                      </a:ext>
                    </a:extLst>
                  </p:cNvPr>
                  <p:cNvSpPr/>
                  <p:nvPr/>
                </p:nvSpPr>
                <p:spPr>
                  <a:xfrm>
                    <a:off x="8879204" y="2546984"/>
                    <a:ext cx="342900" cy="226695"/>
                  </a:xfrm>
                  <a:custGeom>
                    <a:avLst/>
                    <a:gdLst>
                      <a:gd name="connsiteX0" fmla="*/ 170497 w 342900"/>
                      <a:gd name="connsiteY0" fmla="*/ 0 h 226695"/>
                      <a:gd name="connsiteX1" fmla="*/ 0 w 342900"/>
                      <a:gd name="connsiteY1" fmla="*/ 226695 h 226695"/>
                      <a:gd name="connsiteX2" fmla="*/ 171450 w 342900"/>
                      <a:gd name="connsiteY2" fmla="*/ 226695 h 226695"/>
                      <a:gd name="connsiteX3" fmla="*/ 342900 w 342900"/>
                      <a:gd name="connsiteY3" fmla="*/ 226695 h 2266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42900" h="226695">
                        <a:moveTo>
                          <a:pt x="170497" y="0"/>
                        </a:moveTo>
                        <a:lnTo>
                          <a:pt x="0" y="226695"/>
                        </a:lnTo>
                        <a:lnTo>
                          <a:pt x="171450" y="226695"/>
                        </a:lnTo>
                        <a:lnTo>
                          <a:pt x="342900" y="226695"/>
                        </a:lnTo>
                        <a:close/>
                      </a:path>
                    </a:pathLst>
                  </a:custGeom>
                  <a:solidFill>
                    <a:srgbClr val="006738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7" name="任意多边形 223">
                    <a:extLst>
                      <a:ext uri="{FF2B5EF4-FFF2-40B4-BE49-F238E27FC236}">
                        <a16:creationId xmlns:a16="http://schemas.microsoft.com/office/drawing/2014/main" id="{2A2E2D1F-ABD0-8E83-23A7-B9188589FB79}"/>
                      </a:ext>
                    </a:extLst>
                  </p:cNvPr>
                  <p:cNvSpPr/>
                  <p:nvPr/>
                </p:nvSpPr>
                <p:spPr>
                  <a:xfrm>
                    <a:off x="8893492" y="2415540"/>
                    <a:ext cx="313372" cy="191452"/>
                  </a:xfrm>
                  <a:custGeom>
                    <a:avLst/>
                    <a:gdLst>
                      <a:gd name="connsiteX0" fmla="*/ 155257 w 313372"/>
                      <a:gd name="connsiteY0" fmla="*/ 0 h 191452"/>
                      <a:gd name="connsiteX1" fmla="*/ 0 w 313372"/>
                      <a:gd name="connsiteY1" fmla="*/ 191452 h 191452"/>
                      <a:gd name="connsiteX2" fmla="*/ 156210 w 313372"/>
                      <a:gd name="connsiteY2" fmla="*/ 191452 h 191452"/>
                      <a:gd name="connsiteX3" fmla="*/ 313372 w 313372"/>
                      <a:gd name="connsiteY3" fmla="*/ 191452 h 1914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13372" h="191452">
                        <a:moveTo>
                          <a:pt x="155257" y="0"/>
                        </a:moveTo>
                        <a:lnTo>
                          <a:pt x="0" y="191452"/>
                        </a:lnTo>
                        <a:lnTo>
                          <a:pt x="156210" y="191452"/>
                        </a:lnTo>
                        <a:lnTo>
                          <a:pt x="313372" y="191452"/>
                        </a:lnTo>
                        <a:close/>
                      </a:path>
                    </a:pathLst>
                  </a:custGeom>
                  <a:solidFill>
                    <a:srgbClr val="029344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8" name="任意多边形 224">
                    <a:extLst>
                      <a:ext uri="{FF2B5EF4-FFF2-40B4-BE49-F238E27FC236}">
                        <a16:creationId xmlns:a16="http://schemas.microsoft.com/office/drawing/2014/main" id="{86E5CAD6-D7EC-602E-A5AD-C7BB14D710F3}"/>
                      </a:ext>
                    </a:extLst>
                  </p:cNvPr>
                  <p:cNvSpPr/>
                  <p:nvPr/>
                </p:nvSpPr>
                <p:spPr>
                  <a:xfrm>
                    <a:off x="8904922" y="2303145"/>
                    <a:ext cx="288607" cy="163829"/>
                  </a:xfrm>
                  <a:custGeom>
                    <a:avLst/>
                    <a:gdLst>
                      <a:gd name="connsiteX0" fmla="*/ 143827 w 288607"/>
                      <a:gd name="connsiteY0" fmla="*/ 0 h 163829"/>
                      <a:gd name="connsiteX1" fmla="*/ 0 w 288607"/>
                      <a:gd name="connsiteY1" fmla="*/ 163830 h 163829"/>
                      <a:gd name="connsiteX2" fmla="*/ 144780 w 288607"/>
                      <a:gd name="connsiteY2" fmla="*/ 163830 h 163829"/>
                      <a:gd name="connsiteX3" fmla="*/ 288607 w 288607"/>
                      <a:gd name="connsiteY3" fmla="*/ 163830 h 1638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88607" h="163829">
                        <a:moveTo>
                          <a:pt x="143827" y="0"/>
                        </a:moveTo>
                        <a:lnTo>
                          <a:pt x="0" y="163830"/>
                        </a:lnTo>
                        <a:lnTo>
                          <a:pt x="144780" y="163830"/>
                        </a:lnTo>
                        <a:lnTo>
                          <a:pt x="288607" y="163830"/>
                        </a:lnTo>
                        <a:close/>
                      </a:path>
                    </a:pathLst>
                  </a:custGeom>
                  <a:solidFill>
                    <a:srgbClr val="6EB13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9" name="任意多边形 225">
                    <a:extLst>
                      <a:ext uri="{FF2B5EF4-FFF2-40B4-BE49-F238E27FC236}">
                        <a16:creationId xmlns:a16="http://schemas.microsoft.com/office/drawing/2014/main" id="{929E4F0E-6329-6865-1286-E411D3F6B75F}"/>
                      </a:ext>
                    </a:extLst>
                  </p:cNvPr>
                  <p:cNvSpPr/>
                  <p:nvPr/>
                </p:nvSpPr>
                <p:spPr>
                  <a:xfrm>
                    <a:off x="8915399" y="2205990"/>
                    <a:ext cx="266700" cy="140969"/>
                  </a:xfrm>
                  <a:custGeom>
                    <a:avLst/>
                    <a:gdLst>
                      <a:gd name="connsiteX0" fmla="*/ 132398 w 266700"/>
                      <a:gd name="connsiteY0" fmla="*/ 0 h 140969"/>
                      <a:gd name="connsiteX1" fmla="*/ 0 w 266700"/>
                      <a:gd name="connsiteY1" fmla="*/ 140970 h 140969"/>
                      <a:gd name="connsiteX2" fmla="*/ 133350 w 266700"/>
                      <a:gd name="connsiteY2" fmla="*/ 140970 h 140969"/>
                      <a:gd name="connsiteX3" fmla="*/ 266700 w 266700"/>
                      <a:gd name="connsiteY3" fmla="*/ 140970 h 1409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66700" h="140969">
                        <a:moveTo>
                          <a:pt x="132398" y="0"/>
                        </a:moveTo>
                        <a:lnTo>
                          <a:pt x="0" y="140970"/>
                        </a:lnTo>
                        <a:lnTo>
                          <a:pt x="133350" y="140970"/>
                        </a:lnTo>
                        <a:lnTo>
                          <a:pt x="266700" y="140970"/>
                        </a:lnTo>
                        <a:close/>
                      </a:path>
                    </a:pathLst>
                  </a:custGeom>
                  <a:solidFill>
                    <a:srgbClr val="92C33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29" name="组合 28">
                <a:extLst>
                  <a:ext uri="{FF2B5EF4-FFF2-40B4-BE49-F238E27FC236}">
                    <a16:creationId xmlns:a16="http://schemas.microsoft.com/office/drawing/2014/main" id="{8384E95C-64F4-B6CB-8E10-A984E5FFE330}"/>
                  </a:ext>
                </a:extLst>
              </p:cNvPr>
              <p:cNvGrpSpPr/>
              <p:nvPr/>
            </p:nvGrpSpPr>
            <p:grpSpPr>
              <a:xfrm>
                <a:off x="9019222" y="2615565"/>
                <a:ext cx="438150" cy="158115"/>
                <a:chOff x="9019222" y="2615565"/>
                <a:chExt cx="438150" cy="158115"/>
              </a:xfrm>
            </p:grpSpPr>
            <p:sp>
              <p:nvSpPr>
                <p:cNvPr id="30" name="任意多边形 228">
                  <a:extLst>
                    <a:ext uri="{FF2B5EF4-FFF2-40B4-BE49-F238E27FC236}">
                      <a16:creationId xmlns:a16="http://schemas.microsoft.com/office/drawing/2014/main" id="{9C65B786-81B0-C01D-17CF-133EA2D82661}"/>
                    </a:ext>
                  </a:extLst>
                </p:cNvPr>
                <p:cNvSpPr/>
                <p:nvPr/>
              </p:nvSpPr>
              <p:spPr>
                <a:xfrm>
                  <a:off x="9088754" y="2615565"/>
                  <a:ext cx="317182" cy="158115"/>
                </a:xfrm>
                <a:custGeom>
                  <a:avLst/>
                  <a:gdLst>
                    <a:gd name="connsiteX0" fmla="*/ 158115 w 317182"/>
                    <a:gd name="connsiteY0" fmla="*/ 0 h 158115"/>
                    <a:gd name="connsiteX1" fmla="*/ 0 w 317182"/>
                    <a:gd name="connsiteY1" fmla="*/ 158115 h 158115"/>
                    <a:gd name="connsiteX2" fmla="*/ 317182 w 317182"/>
                    <a:gd name="connsiteY2" fmla="*/ 158115 h 158115"/>
                    <a:gd name="connsiteX3" fmla="*/ 158115 w 317182"/>
                    <a:gd name="connsiteY3" fmla="*/ 0 h 1581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7182" h="158115">
                      <a:moveTo>
                        <a:pt x="158115" y="0"/>
                      </a:moveTo>
                      <a:cubicBezTo>
                        <a:pt x="70485" y="0"/>
                        <a:pt x="0" y="70485"/>
                        <a:pt x="0" y="158115"/>
                      </a:cubicBezTo>
                      <a:lnTo>
                        <a:pt x="317182" y="158115"/>
                      </a:lnTo>
                      <a:cubicBezTo>
                        <a:pt x="317182" y="70485"/>
                        <a:pt x="245745" y="0"/>
                        <a:pt x="158115" y="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1" name="任意多边形 229">
                  <a:extLst>
                    <a:ext uri="{FF2B5EF4-FFF2-40B4-BE49-F238E27FC236}">
                      <a16:creationId xmlns:a16="http://schemas.microsoft.com/office/drawing/2014/main" id="{D45EE1E4-C6BC-1911-8BBE-38831CDF6367}"/>
                    </a:ext>
                  </a:extLst>
                </p:cNvPr>
                <p:cNvSpPr/>
                <p:nvPr/>
              </p:nvSpPr>
              <p:spPr>
                <a:xfrm>
                  <a:off x="9019222" y="2677477"/>
                  <a:ext cx="190500" cy="95250"/>
                </a:xfrm>
                <a:custGeom>
                  <a:avLst/>
                  <a:gdLst>
                    <a:gd name="connsiteX0" fmla="*/ 95250 w 190500"/>
                    <a:gd name="connsiteY0" fmla="*/ 0 h 95250"/>
                    <a:gd name="connsiteX1" fmla="*/ 0 w 190500"/>
                    <a:gd name="connsiteY1" fmla="*/ 95250 h 95250"/>
                    <a:gd name="connsiteX2" fmla="*/ 190500 w 190500"/>
                    <a:gd name="connsiteY2" fmla="*/ 95250 h 95250"/>
                    <a:gd name="connsiteX3" fmla="*/ 95250 w 190500"/>
                    <a:gd name="connsiteY3" fmla="*/ 0 h 95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0500" h="95250">
                      <a:moveTo>
                        <a:pt x="95250" y="0"/>
                      </a:moveTo>
                      <a:cubicBezTo>
                        <a:pt x="42863" y="0"/>
                        <a:pt x="0" y="42863"/>
                        <a:pt x="0" y="95250"/>
                      </a:cubicBezTo>
                      <a:lnTo>
                        <a:pt x="190500" y="95250"/>
                      </a:lnTo>
                      <a:cubicBezTo>
                        <a:pt x="190500" y="42863"/>
                        <a:pt x="148590" y="0"/>
                        <a:pt x="95250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2" name="任意多边形 230">
                  <a:extLst>
                    <a:ext uri="{FF2B5EF4-FFF2-40B4-BE49-F238E27FC236}">
                      <a16:creationId xmlns:a16="http://schemas.microsoft.com/office/drawing/2014/main" id="{6C500A81-6349-3F37-785F-9F046C9DDEF7}"/>
                    </a:ext>
                  </a:extLst>
                </p:cNvPr>
                <p:cNvSpPr/>
                <p:nvPr/>
              </p:nvSpPr>
              <p:spPr>
                <a:xfrm>
                  <a:off x="9139237" y="2706052"/>
                  <a:ext cx="134324" cy="67627"/>
                </a:xfrm>
                <a:custGeom>
                  <a:avLst/>
                  <a:gdLst>
                    <a:gd name="connsiteX0" fmla="*/ 67627 w 134324"/>
                    <a:gd name="connsiteY0" fmla="*/ 0 h 67627"/>
                    <a:gd name="connsiteX1" fmla="*/ 0 w 134324"/>
                    <a:gd name="connsiteY1" fmla="*/ 67628 h 67627"/>
                    <a:gd name="connsiteX2" fmla="*/ 134302 w 134324"/>
                    <a:gd name="connsiteY2" fmla="*/ 67628 h 67627"/>
                    <a:gd name="connsiteX3" fmla="*/ 67627 w 134324"/>
                    <a:gd name="connsiteY3" fmla="*/ 0 h 67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4324" h="67627">
                      <a:moveTo>
                        <a:pt x="67627" y="0"/>
                      </a:moveTo>
                      <a:cubicBezTo>
                        <a:pt x="30480" y="0"/>
                        <a:pt x="0" y="30480"/>
                        <a:pt x="0" y="67628"/>
                      </a:cubicBezTo>
                      <a:lnTo>
                        <a:pt x="134302" y="67628"/>
                      </a:lnTo>
                      <a:cubicBezTo>
                        <a:pt x="135255" y="30480"/>
                        <a:pt x="104775" y="0"/>
                        <a:pt x="67627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3" name="任意多边形 231">
                  <a:extLst>
                    <a:ext uri="{FF2B5EF4-FFF2-40B4-BE49-F238E27FC236}">
                      <a16:creationId xmlns:a16="http://schemas.microsoft.com/office/drawing/2014/main" id="{36E87A51-9594-9719-AE73-F8D687BA5AB3}"/>
                    </a:ext>
                  </a:extLst>
                </p:cNvPr>
                <p:cNvSpPr/>
                <p:nvPr/>
              </p:nvSpPr>
              <p:spPr>
                <a:xfrm>
                  <a:off x="9332594" y="2710815"/>
                  <a:ext cx="124777" cy="62865"/>
                </a:xfrm>
                <a:custGeom>
                  <a:avLst/>
                  <a:gdLst>
                    <a:gd name="connsiteX0" fmla="*/ 62865 w 124777"/>
                    <a:gd name="connsiteY0" fmla="*/ 0 h 62865"/>
                    <a:gd name="connsiteX1" fmla="*/ 0 w 124777"/>
                    <a:gd name="connsiteY1" fmla="*/ 62865 h 62865"/>
                    <a:gd name="connsiteX2" fmla="*/ 124778 w 124777"/>
                    <a:gd name="connsiteY2" fmla="*/ 62865 h 62865"/>
                    <a:gd name="connsiteX3" fmla="*/ 62865 w 124777"/>
                    <a:gd name="connsiteY3" fmla="*/ 0 h 62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4777" h="62865">
                      <a:moveTo>
                        <a:pt x="62865" y="0"/>
                      </a:moveTo>
                      <a:cubicBezTo>
                        <a:pt x="28575" y="0"/>
                        <a:pt x="0" y="27622"/>
                        <a:pt x="0" y="62865"/>
                      </a:cubicBezTo>
                      <a:lnTo>
                        <a:pt x="124778" y="62865"/>
                      </a:lnTo>
                      <a:cubicBezTo>
                        <a:pt x="124778" y="27622"/>
                        <a:pt x="97155" y="0"/>
                        <a:pt x="62865" y="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E5E2B812-7619-37AF-79D1-7285E1376834}"/>
                </a:ext>
              </a:extLst>
            </p:cNvPr>
            <p:cNvGrpSpPr/>
            <p:nvPr/>
          </p:nvGrpSpPr>
          <p:grpSpPr>
            <a:xfrm>
              <a:off x="2772569" y="4065269"/>
              <a:ext cx="704850" cy="641032"/>
              <a:chOff x="2737484" y="2132647"/>
              <a:chExt cx="704850" cy="641032"/>
            </a:xfrm>
          </p:grpSpPr>
          <p:sp>
            <p:nvSpPr>
              <p:cNvPr id="15" name="任意多边形 233">
                <a:extLst>
                  <a:ext uri="{FF2B5EF4-FFF2-40B4-BE49-F238E27FC236}">
                    <a16:creationId xmlns:a16="http://schemas.microsoft.com/office/drawing/2014/main" id="{2AEFBDD8-2A22-80AD-DACF-47ACC4AF8329}"/>
                  </a:ext>
                </a:extLst>
              </p:cNvPr>
              <p:cNvSpPr/>
              <p:nvPr/>
            </p:nvSpPr>
            <p:spPr>
              <a:xfrm>
                <a:off x="2987992" y="2646045"/>
                <a:ext cx="340058" cy="127635"/>
              </a:xfrm>
              <a:custGeom>
                <a:avLst/>
                <a:gdLst>
                  <a:gd name="connsiteX0" fmla="*/ 250508 w 340058"/>
                  <a:gd name="connsiteY0" fmla="*/ 37148 h 127635"/>
                  <a:gd name="connsiteX1" fmla="*/ 221933 w 340058"/>
                  <a:gd name="connsiteY1" fmla="*/ 41910 h 127635"/>
                  <a:gd name="connsiteX2" fmla="*/ 127635 w 340058"/>
                  <a:gd name="connsiteY2" fmla="*/ 0 h 127635"/>
                  <a:gd name="connsiteX3" fmla="*/ 0 w 340058"/>
                  <a:gd name="connsiteY3" fmla="*/ 127635 h 127635"/>
                  <a:gd name="connsiteX4" fmla="*/ 160020 w 340058"/>
                  <a:gd name="connsiteY4" fmla="*/ 127635 h 127635"/>
                  <a:gd name="connsiteX5" fmla="*/ 254318 w 340058"/>
                  <a:gd name="connsiteY5" fmla="*/ 127635 h 127635"/>
                  <a:gd name="connsiteX6" fmla="*/ 340043 w 340058"/>
                  <a:gd name="connsiteY6" fmla="*/ 127635 h 127635"/>
                  <a:gd name="connsiteX7" fmla="*/ 250508 w 340058"/>
                  <a:gd name="connsiteY7" fmla="*/ 37148 h 127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0058" h="127635">
                    <a:moveTo>
                      <a:pt x="250508" y="37148"/>
                    </a:moveTo>
                    <a:cubicBezTo>
                      <a:pt x="240030" y="37148"/>
                      <a:pt x="230505" y="39052"/>
                      <a:pt x="221933" y="41910"/>
                    </a:cubicBezTo>
                    <a:cubicBezTo>
                      <a:pt x="198120" y="16192"/>
                      <a:pt x="164783" y="0"/>
                      <a:pt x="127635" y="0"/>
                    </a:cubicBezTo>
                    <a:cubicBezTo>
                      <a:pt x="57150" y="0"/>
                      <a:pt x="0" y="57150"/>
                      <a:pt x="0" y="127635"/>
                    </a:cubicBezTo>
                    <a:lnTo>
                      <a:pt x="160020" y="127635"/>
                    </a:lnTo>
                    <a:lnTo>
                      <a:pt x="254318" y="127635"/>
                    </a:lnTo>
                    <a:lnTo>
                      <a:pt x="340043" y="127635"/>
                    </a:lnTo>
                    <a:cubicBezTo>
                      <a:pt x="340995" y="77152"/>
                      <a:pt x="300038" y="37148"/>
                      <a:pt x="250508" y="37148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6" name="组合 15">
                <a:extLst>
                  <a:ext uri="{FF2B5EF4-FFF2-40B4-BE49-F238E27FC236}">
                    <a16:creationId xmlns:a16="http://schemas.microsoft.com/office/drawing/2014/main" id="{1BF61F80-8A36-21B3-E643-C2004BBBABC8}"/>
                  </a:ext>
                </a:extLst>
              </p:cNvPr>
              <p:cNvGrpSpPr/>
              <p:nvPr/>
            </p:nvGrpSpPr>
            <p:grpSpPr>
              <a:xfrm>
                <a:off x="2737484" y="2132647"/>
                <a:ext cx="704850" cy="640080"/>
                <a:chOff x="2737484" y="2132647"/>
                <a:chExt cx="704850" cy="640080"/>
              </a:xfrm>
            </p:grpSpPr>
            <p:sp>
              <p:nvSpPr>
                <p:cNvPr id="18" name="任意多边形 235">
                  <a:extLst>
                    <a:ext uri="{FF2B5EF4-FFF2-40B4-BE49-F238E27FC236}">
                      <a16:creationId xmlns:a16="http://schemas.microsoft.com/office/drawing/2014/main" id="{0DC3BED3-1C96-CD1A-2101-8802DD24526A}"/>
                    </a:ext>
                  </a:extLst>
                </p:cNvPr>
                <p:cNvSpPr/>
                <p:nvPr/>
              </p:nvSpPr>
              <p:spPr>
                <a:xfrm>
                  <a:off x="3063239" y="2425065"/>
                  <a:ext cx="49530" cy="347662"/>
                </a:xfrm>
                <a:custGeom>
                  <a:avLst/>
                  <a:gdLst>
                    <a:gd name="connsiteX0" fmla="*/ 0 w 49530"/>
                    <a:gd name="connsiteY0" fmla="*/ 347663 h 347662"/>
                    <a:gd name="connsiteX1" fmla="*/ 49530 w 49530"/>
                    <a:gd name="connsiteY1" fmla="*/ 347663 h 347662"/>
                    <a:gd name="connsiteX2" fmla="*/ 43815 w 49530"/>
                    <a:gd name="connsiteY2" fmla="*/ 0 h 347662"/>
                    <a:gd name="connsiteX3" fmla="*/ 8573 w 49530"/>
                    <a:gd name="connsiteY3" fmla="*/ 0 h 347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9530" h="347662">
                      <a:moveTo>
                        <a:pt x="0" y="347663"/>
                      </a:moveTo>
                      <a:lnTo>
                        <a:pt x="49530" y="347663"/>
                      </a:lnTo>
                      <a:lnTo>
                        <a:pt x="43815" y="0"/>
                      </a:lnTo>
                      <a:lnTo>
                        <a:pt x="8573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" name="任意多边形 236">
                  <a:extLst>
                    <a:ext uri="{FF2B5EF4-FFF2-40B4-BE49-F238E27FC236}">
                      <a16:creationId xmlns:a16="http://schemas.microsoft.com/office/drawing/2014/main" id="{8628C098-A99E-FAA5-9416-2B51A945DC60}"/>
                    </a:ext>
                  </a:extLst>
                </p:cNvPr>
                <p:cNvSpPr/>
                <p:nvPr/>
              </p:nvSpPr>
              <p:spPr>
                <a:xfrm>
                  <a:off x="3097529" y="2373629"/>
                  <a:ext cx="150866" cy="200025"/>
                </a:xfrm>
                <a:custGeom>
                  <a:avLst/>
                  <a:gdLst>
                    <a:gd name="connsiteX0" fmla="*/ 952 w 150866"/>
                    <a:gd name="connsiteY0" fmla="*/ 158115 h 200025"/>
                    <a:gd name="connsiteX1" fmla="*/ 110490 w 150866"/>
                    <a:gd name="connsiteY1" fmla="*/ 0 h 200025"/>
                    <a:gd name="connsiteX2" fmla="*/ 149543 w 150866"/>
                    <a:gd name="connsiteY2" fmla="*/ 6667 h 200025"/>
                    <a:gd name="connsiteX3" fmla="*/ 0 w 150866"/>
                    <a:gd name="connsiteY3" fmla="*/ 200025 h 200025"/>
                    <a:gd name="connsiteX4" fmla="*/ 952 w 150866"/>
                    <a:gd name="connsiteY4" fmla="*/ 158115 h 200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66" h="200025">
                      <a:moveTo>
                        <a:pt x="952" y="158115"/>
                      </a:moveTo>
                      <a:cubicBezTo>
                        <a:pt x="952" y="158115"/>
                        <a:pt x="152400" y="141923"/>
                        <a:pt x="110490" y="0"/>
                      </a:cubicBezTo>
                      <a:lnTo>
                        <a:pt x="149543" y="6667"/>
                      </a:lnTo>
                      <a:cubicBezTo>
                        <a:pt x="149543" y="6667"/>
                        <a:pt x="175260" y="144780"/>
                        <a:pt x="0" y="200025"/>
                      </a:cubicBezTo>
                      <a:lnTo>
                        <a:pt x="952" y="158115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" name="任意多边形 237">
                  <a:extLst>
                    <a:ext uri="{FF2B5EF4-FFF2-40B4-BE49-F238E27FC236}">
                      <a16:creationId xmlns:a16="http://schemas.microsoft.com/office/drawing/2014/main" id="{90972145-609A-815A-448C-CB077C21E62F}"/>
                    </a:ext>
                  </a:extLst>
                </p:cNvPr>
                <p:cNvSpPr/>
                <p:nvPr/>
              </p:nvSpPr>
              <p:spPr>
                <a:xfrm>
                  <a:off x="2968935" y="2326957"/>
                  <a:ext cx="120973" cy="156209"/>
                </a:xfrm>
                <a:custGeom>
                  <a:avLst/>
                  <a:gdLst>
                    <a:gd name="connsiteX0" fmla="*/ 30486 w 120973"/>
                    <a:gd name="connsiteY0" fmla="*/ 10477 h 156209"/>
                    <a:gd name="connsiteX1" fmla="*/ 120974 w 120973"/>
                    <a:gd name="connsiteY1" fmla="*/ 128588 h 156209"/>
                    <a:gd name="connsiteX2" fmla="*/ 106686 w 120973"/>
                    <a:gd name="connsiteY2" fmla="*/ 156210 h 156209"/>
                    <a:gd name="connsiteX3" fmla="*/ 6 w 120973"/>
                    <a:gd name="connsiteY3" fmla="*/ 0 h 156209"/>
                    <a:gd name="connsiteX4" fmla="*/ 30486 w 120973"/>
                    <a:gd name="connsiteY4" fmla="*/ 10477 h 156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0973" h="156209">
                      <a:moveTo>
                        <a:pt x="30486" y="10477"/>
                      </a:moveTo>
                      <a:cubicBezTo>
                        <a:pt x="30486" y="10477"/>
                        <a:pt x="5721" y="125730"/>
                        <a:pt x="120974" y="128588"/>
                      </a:cubicBezTo>
                      <a:lnTo>
                        <a:pt x="106686" y="156210"/>
                      </a:lnTo>
                      <a:cubicBezTo>
                        <a:pt x="106686" y="156210"/>
                        <a:pt x="-946" y="141922"/>
                        <a:pt x="6" y="0"/>
                      </a:cubicBezTo>
                      <a:lnTo>
                        <a:pt x="30486" y="10477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" name="任意多边形 238">
                  <a:extLst>
                    <a:ext uri="{FF2B5EF4-FFF2-40B4-BE49-F238E27FC236}">
                      <a16:creationId xmlns:a16="http://schemas.microsoft.com/office/drawing/2014/main" id="{2B458856-4A06-4886-E661-89A3261FBE3E}"/>
                    </a:ext>
                  </a:extLst>
                </p:cNvPr>
                <p:cNvSpPr/>
                <p:nvPr/>
              </p:nvSpPr>
              <p:spPr>
                <a:xfrm>
                  <a:off x="2832734" y="2346959"/>
                  <a:ext cx="167640" cy="97818"/>
                </a:xfrm>
                <a:custGeom>
                  <a:avLst/>
                  <a:gdLst>
                    <a:gd name="connsiteX0" fmla="*/ 32385 w 167640"/>
                    <a:gd name="connsiteY0" fmla="*/ 0 h 97818"/>
                    <a:gd name="connsiteX1" fmla="*/ 167640 w 167640"/>
                    <a:gd name="connsiteY1" fmla="*/ 61913 h 97818"/>
                    <a:gd name="connsiteX2" fmla="*/ 167640 w 167640"/>
                    <a:gd name="connsiteY2" fmla="*/ 92393 h 97818"/>
                    <a:gd name="connsiteX3" fmla="*/ 0 w 167640"/>
                    <a:gd name="connsiteY3" fmla="*/ 4763 h 97818"/>
                    <a:gd name="connsiteX4" fmla="*/ 32385 w 167640"/>
                    <a:gd name="connsiteY4" fmla="*/ 0 h 97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97818">
                      <a:moveTo>
                        <a:pt x="32385" y="0"/>
                      </a:moveTo>
                      <a:cubicBezTo>
                        <a:pt x="32385" y="0"/>
                        <a:pt x="64770" y="112395"/>
                        <a:pt x="167640" y="61913"/>
                      </a:cubicBezTo>
                      <a:lnTo>
                        <a:pt x="167640" y="92393"/>
                      </a:lnTo>
                      <a:cubicBezTo>
                        <a:pt x="167640" y="92393"/>
                        <a:pt x="65723" y="130493"/>
                        <a:pt x="0" y="4763"/>
                      </a:cubicBezTo>
                      <a:lnTo>
                        <a:pt x="32385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" name="任意多边形 239">
                  <a:extLst>
                    <a:ext uri="{FF2B5EF4-FFF2-40B4-BE49-F238E27FC236}">
                      <a16:creationId xmlns:a16="http://schemas.microsoft.com/office/drawing/2014/main" id="{EFA5414F-3A8D-D51A-5A7C-C091C479DFC4}"/>
                    </a:ext>
                  </a:extLst>
                </p:cNvPr>
                <p:cNvSpPr/>
                <p:nvPr/>
              </p:nvSpPr>
              <p:spPr>
                <a:xfrm>
                  <a:off x="3191826" y="2437447"/>
                  <a:ext cx="179070" cy="91847"/>
                </a:xfrm>
                <a:custGeom>
                  <a:avLst/>
                  <a:gdLst>
                    <a:gd name="connsiteX0" fmla="*/ 18098 w 179070"/>
                    <a:gd name="connsiteY0" fmla="*/ 56198 h 91847"/>
                    <a:gd name="connsiteX1" fmla="*/ 156210 w 179070"/>
                    <a:gd name="connsiteY1" fmla="*/ 0 h 91847"/>
                    <a:gd name="connsiteX2" fmla="*/ 179070 w 179070"/>
                    <a:gd name="connsiteY2" fmla="*/ 20955 h 91847"/>
                    <a:gd name="connsiteX3" fmla="*/ 0 w 179070"/>
                    <a:gd name="connsiteY3" fmla="*/ 82868 h 91847"/>
                    <a:gd name="connsiteX4" fmla="*/ 18098 w 179070"/>
                    <a:gd name="connsiteY4" fmla="*/ 56198 h 91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9070" h="91847">
                      <a:moveTo>
                        <a:pt x="18098" y="56198"/>
                      </a:moveTo>
                      <a:cubicBezTo>
                        <a:pt x="18098" y="56198"/>
                        <a:pt x="122873" y="109538"/>
                        <a:pt x="156210" y="0"/>
                      </a:cubicBezTo>
                      <a:lnTo>
                        <a:pt x="179070" y="20955"/>
                      </a:lnTo>
                      <a:cubicBezTo>
                        <a:pt x="179070" y="20955"/>
                        <a:pt x="137160" y="121920"/>
                        <a:pt x="0" y="82868"/>
                      </a:cubicBezTo>
                      <a:lnTo>
                        <a:pt x="18098" y="56198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" name="任意多边形 240">
                  <a:extLst>
                    <a:ext uri="{FF2B5EF4-FFF2-40B4-BE49-F238E27FC236}">
                      <a16:creationId xmlns:a16="http://schemas.microsoft.com/office/drawing/2014/main" id="{B8A32BF2-7D7D-0E09-705A-80A1C70C85B4}"/>
                    </a:ext>
                  </a:extLst>
                </p:cNvPr>
                <p:cNvSpPr/>
                <p:nvPr/>
              </p:nvSpPr>
              <p:spPr>
                <a:xfrm>
                  <a:off x="2895599" y="2154554"/>
                  <a:ext cx="180975" cy="215265"/>
                </a:xfrm>
                <a:custGeom>
                  <a:avLst/>
                  <a:gdLst>
                    <a:gd name="connsiteX0" fmla="*/ 180975 w 180975"/>
                    <a:gd name="connsiteY0" fmla="*/ 119063 h 215265"/>
                    <a:gd name="connsiteX1" fmla="*/ 90488 w 180975"/>
                    <a:gd name="connsiteY1" fmla="*/ 215265 h 215265"/>
                    <a:gd name="connsiteX2" fmla="*/ 0 w 180975"/>
                    <a:gd name="connsiteY2" fmla="*/ 119063 h 215265"/>
                    <a:gd name="connsiteX3" fmla="*/ 90488 w 180975"/>
                    <a:gd name="connsiteY3" fmla="*/ 0 h 215265"/>
                    <a:gd name="connsiteX4" fmla="*/ 180975 w 180975"/>
                    <a:gd name="connsiteY4" fmla="*/ 119063 h 215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975" h="215265">
                      <a:moveTo>
                        <a:pt x="180975" y="119063"/>
                      </a:moveTo>
                      <a:cubicBezTo>
                        <a:pt x="180975" y="184785"/>
                        <a:pt x="140970" y="215265"/>
                        <a:pt x="90488" y="215265"/>
                      </a:cubicBezTo>
                      <a:cubicBezTo>
                        <a:pt x="40957" y="215265"/>
                        <a:pt x="0" y="184785"/>
                        <a:pt x="0" y="119063"/>
                      </a:cubicBezTo>
                      <a:cubicBezTo>
                        <a:pt x="0" y="53340"/>
                        <a:pt x="40005" y="0"/>
                        <a:pt x="90488" y="0"/>
                      </a:cubicBezTo>
                      <a:cubicBezTo>
                        <a:pt x="140018" y="0"/>
                        <a:pt x="180975" y="53340"/>
                        <a:pt x="180975" y="11906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" name="任意多边形 241">
                  <a:extLst>
                    <a:ext uri="{FF2B5EF4-FFF2-40B4-BE49-F238E27FC236}">
                      <a16:creationId xmlns:a16="http://schemas.microsoft.com/office/drawing/2014/main" id="{C231C7FB-A016-0C6A-7A05-8E3BD507B5FB}"/>
                    </a:ext>
                  </a:extLst>
                </p:cNvPr>
                <p:cNvSpPr/>
                <p:nvPr/>
              </p:nvSpPr>
              <p:spPr>
                <a:xfrm>
                  <a:off x="2737484" y="2132647"/>
                  <a:ext cx="217170" cy="259080"/>
                </a:xfrm>
                <a:custGeom>
                  <a:avLst/>
                  <a:gdLst>
                    <a:gd name="connsiteX0" fmla="*/ 217170 w 217170"/>
                    <a:gd name="connsiteY0" fmla="*/ 142875 h 259080"/>
                    <a:gd name="connsiteX1" fmla="*/ 108585 w 217170"/>
                    <a:gd name="connsiteY1" fmla="*/ 259080 h 259080"/>
                    <a:gd name="connsiteX2" fmla="*/ 0 w 217170"/>
                    <a:gd name="connsiteY2" fmla="*/ 142875 h 259080"/>
                    <a:gd name="connsiteX3" fmla="*/ 108585 w 217170"/>
                    <a:gd name="connsiteY3" fmla="*/ 0 h 259080"/>
                    <a:gd name="connsiteX4" fmla="*/ 217170 w 217170"/>
                    <a:gd name="connsiteY4" fmla="*/ 142875 h 259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70" h="259080">
                      <a:moveTo>
                        <a:pt x="217170" y="142875"/>
                      </a:moveTo>
                      <a:cubicBezTo>
                        <a:pt x="217170" y="221933"/>
                        <a:pt x="168593" y="259080"/>
                        <a:pt x="108585" y="259080"/>
                      </a:cubicBezTo>
                      <a:cubicBezTo>
                        <a:pt x="48578" y="259080"/>
                        <a:pt x="0" y="222885"/>
                        <a:pt x="0" y="142875"/>
                      </a:cubicBezTo>
                      <a:cubicBezTo>
                        <a:pt x="0" y="63818"/>
                        <a:pt x="48578" y="0"/>
                        <a:pt x="108585" y="0"/>
                      </a:cubicBezTo>
                      <a:cubicBezTo>
                        <a:pt x="168593" y="0"/>
                        <a:pt x="217170" y="63818"/>
                        <a:pt x="217170" y="142875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5" name="任意多边形 242">
                  <a:extLst>
                    <a:ext uri="{FF2B5EF4-FFF2-40B4-BE49-F238E27FC236}">
                      <a16:creationId xmlns:a16="http://schemas.microsoft.com/office/drawing/2014/main" id="{516B6B45-BC30-325E-96E3-A73F0D8DE9A6}"/>
                    </a:ext>
                  </a:extLst>
                </p:cNvPr>
                <p:cNvSpPr/>
                <p:nvPr/>
              </p:nvSpPr>
              <p:spPr>
                <a:xfrm>
                  <a:off x="3108959" y="2200275"/>
                  <a:ext cx="217169" cy="218122"/>
                </a:xfrm>
                <a:custGeom>
                  <a:avLst/>
                  <a:gdLst>
                    <a:gd name="connsiteX0" fmla="*/ 217170 w 217169"/>
                    <a:gd name="connsiteY0" fmla="*/ 120967 h 218122"/>
                    <a:gd name="connsiteX1" fmla="*/ 108585 w 217169"/>
                    <a:gd name="connsiteY1" fmla="*/ 218122 h 218122"/>
                    <a:gd name="connsiteX2" fmla="*/ 0 w 217169"/>
                    <a:gd name="connsiteY2" fmla="*/ 120967 h 218122"/>
                    <a:gd name="connsiteX3" fmla="*/ 108585 w 217169"/>
                    <a:gd name="connsiteY3" fmla="*/ 0 h 218122"/>
                    <a:gd name="connsiteX4" fmla="*/ 217170 w 217169"/>
                    <a:gd name="connsiteY4" fmla="*/ 120967 h 218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69" h="218122">
                      <a:moveTo>
                        <a:pt x="217170" y="120967"/>
                      </a:moveTo>
                      <a:cubicBezTo>
                        <a:pt x="217170" y="187642"/>
                        <a:pt x="168592" y="218122"/>
                        <a:pt x="108585" y="218122"/>
                      </a:cubicBezTo>
                      <a:cubicBezTo>
                        <a:pt x="48577" y="218122"/>
                        <a:pt x="0" y="187642"/>
                        <a:pt x="0" y="120967"/>
                      </a:cubicBezTo>
                      <a:cubicBezTo>
                        <a:pt x="0" y="54292"/>
                        <a:pt x="48577" y="0"/>
                        <a:pt x="108585" y="0"/>
                      </a:cubicBezTo>
                      <a:cubicBezTo>
                        <a:pt x="168592" y="0"/>
                        <a:pt x="217170" y="54292"/>
                        <a:pt x="217170" y="120967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6" name="任意多边形 243">
                  <a:extLst>
                    <a:ext uri="{FF2B5EF4-FFF2-40B4-BE49-F238E27FC236}">
                      <a16:creationId xmlns:a16="http://schemas.microsoft.com/office/drawing/2014/main" id="{B11CA1F0-259E-C01B-F82B-C53C01ED3AC8}"/>
                    </a:ext>
                  </a:extLst>
                </p:cNvPr>
                <p:cNvSpPr/>
                <p:nvPr/>
              </p:nvSpPr>
              <p:spPr>
                <a:xfrm>
                  <a:off x="3016567" y="2297429"/>
                  <a:ext cx="142875" cy="144779"/>
                </a:xfrm>
                <a:custGeom>
                  <a:avLst/>
                  <a:gdLst>
                    <a:gd name="connsiteX0" fmla="*/ 142875 w 142875"/>
                    <a:gd name="connsiteY0" fmla="*/ 80010 h 144779"/>
                    <a:gd name="connsiteX1" fmla="*/ 71438 w 142875"/>
                    <a:gd name="connsiteY1" fmla="*/ 144780 h 144779"/>
                    <a:gd name="connsiteX2" fmla="*/ 0 w 142875"/>
                    <a:gd name="connsiteY2" fmla="*/ 80010 h 144779"/>
                    <a:gd name="connsiteX3" fmla="*/ 71438 w 142875"/>
                    <a:gd name="connsiteY3" fmla="*/ 0 h 144779"/>
                    <a:gd name="connsiteX4" fmla="*/ 142875 w 142875"/>
                    <a:gd name="connsiteY4" fmla="*/ 80010 h 144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875" h="144779">
                      <a:moveTo>
                        <a:pt x="142875" y="80010"/>
                      </a:moveTo>
                      <a:cubicBezTo>
                        <a:pt x="142875" y="123825"/>
                        <a:pt x="110490" y="144780"/>
                        <a:pt x="71438" y="144780"/>
                      </a:cubicBezTo>
                      <a:cubicBezTo>
                        <a:pt x="31432" y="144780"/>
                        <a:pt x="0" y="124778"/>
                        <a:pt x="0" y="80010"/>
                      </a:cubicBezTo>
                      <a:cubicBezTo>
                        <a:pt x="0" y="36195"/>
                        <a:pt x="32385" y="0"/>
                        <a:pt x="71438" y="0"/>
                      </a:cubicBezTo>
                      <a:cubicBezTo>
                        <a:pt x="110490" y="0"/>
                        <a:pt x="142875" y="36195"/>
                        <a:pt x="142875" y="8001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7" name="任意多边形 244">
                  <a:extLst>
                    <a:ext uri="{FF2B5EF4-FFF2-40B4-BE49-F238E27FC236}">
                      <a16:creationId xmlns:a16="http://schemas.microsoft.com/office/drawing/2014/main" id="{586CF587-9D97-4255-DA4C-B38AAB58227C}"/>
                    </a:ext>
                  </a:extLst>
                </p:cNvPr>
                <p:cNvSpPr/>
                <p:nvPr/>
              </p:nvSpPr>
              <p:spPr>
                <a:xfrm>
                  <a:off x="3274694" y="2323147"/>
                  <a:ext cx="167640" cy="167640"/>
                </a:xfrm>
                <a:custGeom>
                  <a:avLst/>
                  <a:gdLst>
                    <a:gd name="connsiteX0" fmla="*/ 167640 w 167640"/>
                    <a:gd name="connsiteY0" fmla="*/ 92393 h 167640"/>
                    <a:gd name="connsiteX1" fmla="*/ 83820 w 167640"/>
                    <a:gd name="connsiteY1" fmla="*/ 167640 h 167640"/>
                    <a:gd name="connsiteX2" fmla="*/ 0 w 167640"/>
                    <a:gd name="connsiteY2" fmla="*/ 92393 h 167640"/>
                    <a:gd name="connsiteX3" fmla="*/ 83820 w 167640"/>
                    <a:gd name="connsiteY3" fmla="*/ 0 h 167640"/>
                    <a:gd name="connsiteX4" fmla="*/ 167640 w 167640"/>
                    <a:gd name="connsiteY4" fmla="*/ 92393 h 1676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167640">
                      <a:moveTo>
                        <a:pt x="167640" y="92393"/>
                      </a:moveTo>
                      <a:cubicBezTo>
                        <a:pt x="167640" y="143828"/>
                        <a:pt x="130493" y="167640"/>
                        <a:pt x="83820" y="167640"/>
                      </a:cubicBezTo>
                      <a:cubicBezTo>
                        <a:pt x="38100" y="167640"/>
                        <a:pt x="0" y="143828"/>
                        <a:pt x="0" y="92393"/>
                      </a:cubicBezTo>
                      <a:cubicBezTo>
                        <a:pt x="0" y="40958"/>
                        <a:pt x="37148" y="0"/>
                        <a:pt x="83820" y="0"/>
                      </a:cubicBezTo>
                      <a:cubicBezTo>
                        <a:pt x="129540" y="0"/>
                        <a:pt x="167640" y="40958"/>
                        <a:pt x="167640" y="9239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7" name="任意多边形 245">
                <a:extLst>
                  <a:ext uri="{FF2B5EF4-FFF2-40B4-BE49-F238E27FC236}">
                    <a16:creationId xmlns:a16="http://schemas.microsoft.com/office/drawing/2014/main" id="{AB751308-8BC0-4377-BDE8-3F3FEBA2D368}"/>
                  </a:ext>
                </a:extLst>
              </p:cNvPr>
              <p:cNvSpPr/>
              <p:nvPr/>
            </p:nvSpPr>
            <p:spPr>
              <a:xfrm>
                <a:off x="2830829" y="2681287"/>
                <a:ext cx="247650" cy="92392"/>
              </a:xfrm>
              <a:custGeom>
                <a:avLst/>
                <a:gdLst>
                  <a:gd name="connsiteX0" fmla="*/ 65723 w 247650"/>
                  <a:gd name="connsiteY0" fmla="*/ 26670 h 92392"/>
                  <a:gd name="connsiteX1" fmla="*/ 86677 w 247650"/>
                  <a:gd name="connsiteY1" fmla="*/ 30480 h 92392"/>
                  <a:gd name="connsiteX2" fmla="*/ 155258 w 247650"/>
                  <a:gd name="connsiteY2" fmla="*/ 0 h 92392"/>
                  <a:gd name="connsiteX3" fmla="*/ 247650 w 247650"/>
                  <a:gd name="connsiteY3" fmla="*/ 92393 h 92392"/>
                  <a:gd name="connsiteX4" fmla="*/ 130493 w 247650"/>
                  <a:gd name="connsiteY4" fmla="*/ 92393 h 92392"/>
                  <a:gd name="connsiteX5" fmla="*/ 61913 w 247650"/>
                  <a:gd name="connsiteY5" fmla="*/ 92393 h 92392"/>
                  <a:gd name="connsiteX6" fmla="*/ 0 w 247650"/>
                  <a:gd name="connsiteY6" fmla="*/ 92393 h 92392"/>
                  <a:gd name="connsiteX7" fmla="*/ 65723 w 247650"/>
                  <a:gd name="connsiteY7" fmla="*/ 26670 h 92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7650" h="92392">
                    <a:moveTo>
                      <a:pt x="65723" y="26670"/>
                    </a:moveTo>
                    <a:cubicBezTo>
                      <a:pt x="73343" y="26670"/>
                      <a:pt x="80010" y="27622"/>
                      <a:pt x="86677" y="30480"/>
                    </a:cubicBezTo>
                    <a:cubicBezTo>
                      <a:pt x="103823" y="11430"/>
                      <a:pt x="127635" y="0"/>
                      <a:pt x="155258" y="0"/>
                    </a:cubicBezTo>
                    <a:cubicBezTo>
                      <a:pt x="206693" y="0"/>
                      <a:pt x="247650" y="40957"/>
                      <a:pt x="247650" y="92393"/>
                    </a:cubicBezTo>
                    <a:lnTo>
                      <a:pt x="130493" y="92393"/>
                    </a:lnTo>
                    <a:lnTo>
                      <a:pt x="61913" y="92393"/>
                    </a:lnTo>
                    <a:lnTo>
                      <a:pt x="0" y="92393"/>
                    </a:lnTo>
                    <a:cubicBezTo>
                      <a:pt x="0" y="56197"/>
                      <a:pt x="29528" y="26670"/>
                      <a:pt x="65723" y="2667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AB86FFCC-3D66-6BB6-326C-AFEAFE0AE9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51011" y="1338049"/>
            <a:ext cx="5508634" cy="652714"/>
          </a:xfrm>
          <a:prstGeom prst="rect">
            <a:avLst/>
          </a:prstGeom>
        </p:spPr>
      </p:pic>
      <p:sp>
        <p:nvSpPr>
          <p:cNvPr id="87" name="TextBox 86">
            <a:extLst>
              <a:ext uri="{FF2B5EF4-FFF2-40B4-BE49-F238E27FC236}">
                <a16:creationId xmlns:a16="http://schemas.microsoft.com/office/drawing/2014/main" id="{9CCB6BCE-8C64-8D2C-107A-2AB210D30D0B}"/>
              </a:ext>
            </a:extLst>
          </p:cNvPr>
          <p:cNvSpPr txBox="1"/>
          <p:nvPr/>
        </p:nvSpPr>
        <p:spPr>
          <a:xfrm>
            <a:off x="2223544" y="1989939"/>
            <a:ext cx="758424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>
              <a:buFontTx/>
              <a:buChar char="-"/>
            </a:pPr>
            <a:endParaRPr lang="en-US" sz="2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marR="0" lvl="0" indent="-285750">
              <a:buFontTx/>
              <a:buChar char="-"/>
            </a:pP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Transforming n1-dimensional vectors to n2-dimensional vectors</a:t>
            </a:r>
            <a:endParaRPr lang="en-US" sz="2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marR="0" lvl="0" indent="-285750">
              <a:buFontTx/>
              <a:buChar char="-"/>
            </a:pPr>
            <a:endParaRPr lang="en-US" sz="2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marR="0" lvl="0" indent="-285750">
              <a:buFontTx/>
              <a:buChar char="-"/>
            </a:pPr>
            <a:r>
              <a:rPr lang="en-US" sz="2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n2 times of convolution operations with kernel </a:t>
            </a: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of n1*f2*f2</a:t>
            </a:r>
          </a:p>
          <a:p>
            <a:pPr marR="0" lvl="0"/>
            <a:endParaRPr lang="en-US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marR="0" lvl="0" indent="-285750">
              <a:buFontTx/>
              <a:buChar char="-"/>
            </a:pPr>
            <a:r>
              <a:rPr lang="en-US" sz="2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W2: n2 filters of n1 * f2 * f2</a:t>
            </a:r>
          </a:p>
          <a:p>
            <a:pPr marR="0" lvl="0"/>
            <a:endParaRPr lang="en-US" sz="2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marR="0" lvl="0" indent="-285750">
              <a:buFontTx/>
              <a:buChar char="-"/>
            </a:pP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B2: n2 dimensions</a:t>
            </a:r>
          </a:p>
          <a:p>
            <a:pPr marR="0" lvl="0"/>
            <a:endParaRPr lang="en-US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marR="0" lvl="0" indent="-285750">
              <a:buFontTx/>
              <a:buChar char="-"/>
            </a:pPr>
            <a:r>
              <a:rPr lang="en-US" sz="2000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ReLU</a:t>
            </a: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form output</a:t>
            </a:r>
          </a:p>
          <a:p>
            <a:pPr marR="0" lvl="0"/>
            <a:endParaRPr lang="en-US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R="0" lvl="0"/>
            <a:r>
              <a:rPr lang="en-US" sz="2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-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957038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3</a:t>
            </a:r>
            <a:r>
              <a:rPr lang="en-US" altLang="zh-CN" baseline="30000" dirty="0"/>
              <a:t>rd</a:t>
            </a:r>
            <a:r>
              <a:rPr lang="en-US" altLang="zh-CN" dirty="0"/>
              <a:t> part: Reconstructio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FE3897B8-EEF2-EF09-58E8-6380F6E3742D}"/>
              </a:ext>
            </a:extLst>
          </p:cNvPr>
          <p:cNvGrpSpPr/>
          <p:nvPr/>
        </p:nvGrpSpPr>
        <p:grpSpPr>
          <a:xfrm>
            <a:off x="8358909" y="5477164"/>
            <a:ext cx="3719729" cy="1298762"/>
            <a:chOff x="2772569" y="2151697"/>
            <a:chExt cx="6719888" cy="2554605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288EEB7A-6D63-F12F-3CCD-8F869232CFED}"/>
                </a:ext>
              </a:extLst>
            </p:cNvPr>
            <p:cNvGrpSpPr/>
            <p:nvPr/>
          </p:nvGrpSpPr>
          <p:grpSpPr>
            <a:xfrm>
              <a:off x="7873207" y="2151697"/>
              <a:ext cx="1093469" cy="2553652"/>
              <a:chOff x="7838122" y="219075"/>
              <a:chExt cx="1093469" cy="2553652"/>
            </a:xfrm>
          </p:grpSpPr>
          <p:sp>
            <p:nvSpPr>
              <p:cNvPr id="79" name="任意多边形 157">
                <a:extLst>
                  <a:ext uri="{FF2B5EF4-FFF2-40B4-BE49-F238E27FC236}">
                    <a16:creationId xmlns:a16="http://schemas.microsoft.com/office/drawing/2014/main" id="{2213DB1D-7987-2518-5F24-BC1269ED5332}"/>
                  </a:ext>
                </a:extLst>
              </p:cNvPr>
              <p:cNvSpPr/>
              <p:nvPr/>
            </p:nvSpPr>
            <p:spPr>
              <a:xfrm>
                <a:off x="8309609" y="280987"/>
                <a:ext cx="151447" cy="2491740"/>
              </a:xfrm>
              <a:custGeom>
                <a:avLst/>
                <a:gdLst>
                  <a:gd name="connsiteX0" fmla="*/ 151447 w 151447"/>
                  <a:gd name="connsiteY0" fmla="*/ 2491740 h 2491740"/>
                  <a:gd name="connsiteX1" fmla="*/ 0 w 151447"/>
                  <a:gd name="connsiteY1" fmla="*/ 2491740 h 2491740"/>
                  <a:gd name="connsiteX2" fmla="*/ 52388 w 151447"/>
                  <a:gd name="connsiteY2" fmla="*/ 0 h 2491740"/>
                  <a:gd name="connsiteX3" fmla="*/ 99060 w 151447"/>
                  <a:gd name="connsiteY3" fmla="*/ 0 h 249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1447" h="2491740">
                    <a:moveTo>
                      <a:pt x="151447" y="2491740"/>
                    </a:moveTo>
                    <a:lnTo>
                      <a:pt x="0" y="2491740"/>
                    </a:lnTo>
                    <a:lnTo>
                      <a:pt x="52388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80" name="组合 79">
                <a:extLst>
                  <a:ext uri="{FF2B5EF4-FFF2-40B4-BE49-F238E27FC236}">
                    <a16:creationId xmlns:a16="http://schemas.microsoft.com/office/drawing/2014/main" id="{CE8422B4-726A-DB9F-07F1-52E3B10F3199}"/>
                  </a:ext>
                </a:extLst>
              </p:cNvPr>
              <p:cNvGrpSpPr/>
              <p:nvPr/>
            </p:nvGrpSpPr>
            <p:grpSpPr>
              <a:xfrm>
                <a:off x="7838122" y="219075"/>
                <a:ext cx="1093469" cy="1788795"/>
                <a:chOff x="7838122" y="219075"/>
                <a:chExt cx="1093469" cy="1788795"/>
              </a:xfrm>
            </p:grpSpPr>
            <p:sp>
              <p:nvSpPr>
                <p:cNvPr id="81" name="任意多边形 159">
                  <a:extLst>
                    <a:ext uri="{FF2B5EF4-FFF2-40B4-BE49-F238E27FC236}">
                      <a16:creationId xmlns:a16="http://schemas.microsoft.com/office/drawing/2014/main" id="{0A2A7881-9992-9D31-1E8B-BB6DD3AAA61E}"/>
                    </a:ext>
                  </a:extLst>
                </p:cNvPr>
                <p:cNvSpPr/>
                <p:nvPr/>
              </p:nvSpPr>
              <p:spPr>
                <a:xfrm>
                  <a:off x="7838122" y="1418272"/>
                  <a:ext cx="1093469" cy="589597"/>
                </a:xfrm>
                <a:custGeom>
                  <a:avLst/>
                  <a:gdLst>
                    <a:gd name="connsiteX0" fmla="*/ 542925 w 1093469"/>
                    <a:gd name="connsiteY0" fmla="*/ 0 h 589597"/>
                    <a:gd name="connsiteX1" fmla="*/ 0 w 1093469"/>
                    <a:gd name="connsiteY1" fmla="*/ 589598 h 589597"/>
                    <a:gd name="connsiteX2" fmla="*/ 546735 w 1093469"/>
                    <a:gd name="connsiteY2" fmla="*/ 589598 h 589597"/>
                    <a:gd name="connsiteX3" fmla="*/ 1093470 w 1093469"/>
                    <a:gd name="connsiteY3" fmla="*/ 589598 h 589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93469" h="589597">
                      <a:moveTo>
                        <a:pt x="542925" y="0"/>
                      </a:moveTo>
                      <a:lnTo>
                        <a:pt x="0" y="589598"/>
                      </a:lnTo>
                      <a:lnTo>
                        <a:pt x="546735" y="589598"/>
                      </a:lnTo>
                      <a:lnTo>
                        <a:pt x="1093470" y="589598"/>
                      </a:ln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2" name="任意多边形 160">
                  <a:extLst>
                    <a:ext uri="{FF2B5EF4-FFF2-40B4-BE49-F238E27FC236}">
                      <a16:creationId xmlns:a16="http://schemas.microsoft.com/office/drawing/2014/main" id="{F8F9F474-39FD-549B-8463-BF4B90EECB34}"/>
                    </a:ext>
                  </a:extLst>
                </p:cNvPr>
                <p:cNvSpPr/>
                <p:nvPr/>
              </p:nvSpPr>
              <p:spPr>
                <a:xfrm>
                  <a:off x="7892414" y="1091564"/>
                  <a:ext cx="979170" cy="480060"/>
                </a:xfrm>
                <a:custGeom>
                  <a:avLst/>
                  <a:gdLst>
                    <a:gd name="connsiteX0" fmla="*/ 486728 w 979170"/>
                    <a:gd name="connsiteY0" fmla="*/ 0 h 480060"/>
                    <a:gd name="connsiteX1" fmla="*/ 0 w 979170"/>
                    <a:gd name="connsiteY1" fmla="*/ 480060 h 480060"/>
                    <a:gd name="connsiteX2" fmla="*/ 489585 w 979170"/>
                    <a:gd name="connsiteY2" fmla="*/ 480060 h 480060"/>
                    <a:gd name="connsiteX3" fmla="*/ 979170 w 979170"/>
                    <a:gd name="connsiteY3" fmla="*/ 480060 h 4800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9170" h="480060">
                      <a:moveTo>
                        <a:pt x="486728" y="0"/>
                      </a:moveTo>
                      <a:lnTo>
                        <a:pt x="0" y="480060"/>
                      </a:lnTo>
                      <a:lnTo>
                        <a:pt x="489585" y="480060"/>
                      </a:lnTo>
                      <a:lnTo>
                        <a:pt x="979170" y="480060"/>
                      </a:ln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3" name="任意多边形 161">
                  <a:extLst>
                    <a:ext uri="{FF2B5EF4-FFF2-40B4-BE49-F238E27FC236}">
                      <a16:creationId xmlns:a16="http://schemas.microsoft.com/office/drawing/2014/main" id="{B4C3880F-53E7-C432-510D-7B042445B7E9}"/>
                    </a:ext>
                  </a:extLst>
                </p:cNvPr>
                <p:cNvSpPr/>
                <p:nvPr/>
              </p:nvSpPr>
              <p:spPr>
                <a:xfrm>
                  <a:off x="7937181" y="819150"/>
                  <a:ext cx="886777" cy="398145"/>
                </a:xfrm>
                <a:custGeom>
                  <a:avLst/>
                  <a:gdLst>
                    <a:gd name="connsiteX0" fmla="*/ 441007 w 886777"/>
                    <a:gd name="connsiteY0" fmla="*/ 0 h 398145"/>
                    <a:gd name="connsiteX1" fmla="*/ 0 w 886777"/>
                    <a:gd name="connsiteY1" fmla="*/ 398145 h 398145"/>
                    <a:gd name="connsiteX2" fmla="*/ 442913 w 886777"/>
                    <a:gd name="connsiteY2" fmla="*/ 398145 h 398145"/>
                    <a:gd name="connsiteX3" fmla="*/ 886778 w 886777"/>
                    <a:gd name="connsiteY3" fmla="*/ 398145 h 3981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86777" h="398145">
                      <a:moveTo>
                        <a:pt x="441007" y="0"/>
                      </a:moveTo>
                      <a:lnTo>
                        <a:pt x="0" y="398145"/>
                      </a:lnTo>
                      <a:lnTo>
                        <a:pt x="442913" y="398145"/>
                      </a:lnTo>
                      <a:lnTo>
                        <a:pt x="886778" y="398145"/>
                      </a:ln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4" name="任意多边形 162">
                  <a:extLst>
                    <a:ext uri="{FF2B5EF4-FFF2-40B4-BE49-F238E27FC236}">
                      <a16:creationId xmlns:a16="http://schemas.microsoft.com/office/drawing/2014/main" id="{18997019-715B-82F9-E48A-9B698523B9F4}"/>
                    </a:ext>
                  </a:extLst>
                </p:cNvPr>
                <p:cNvSpPr/>
                <p:nvPr/>
              </p:nvSpPr>
              <p:spPr>
                <a:xfrm>
                  <a:off x="7973376" y="587692"/>
                  <a:ext cx="809625" cy="336232"/>
                </a:xfrm>
                <a:custGeom>
                  <a:avLst/>
                  <a:gdLst>
                    <a:gd name="connsiteX0" fmla="*/ 402908 w 809625"/>
                    <a:gd name="connsiteY0" fmla="*/ 0 h 336232"/>
                    <a:gd name="connsiteX1" fmla="*/ 0 w 809625"/>
                    <a:gd name="connsiteY1" fmla="*/ 336233 h 336232"/>
                    <a:gd name="connsiteX2" fmla="*/ 404813 w 809625"/>
                    <a:gd name="connsiteY2" fmla="*/ 336233 h 336232"/>
                    <a:gd name="connsiteX3" fmla="*/ 809625 w 809625"/>
                    <a:gd name="connsiteY3" fmla="*/ 336233 h 336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9625" h="336232">
                      <a:moveTo>
                        <a:pt x="402908" y="0"/>
                      </a:moveTo>
                      <a:lnTo>
                        <a:pt x="0" y="336233"/>
                      </a:lnTo>
                      <a:lnTo>
                        <a:pt x="404813" y="336233"/>
                      </a:lnTo>
                      <a:lnTo>
                        <a:pt x="809625" y="336233"/>
                      </a:lnTo>
                      <a:close/>
                    </a:path>
                  </a:pathLst>
                </a:custGeom>
                <a:solidFill>
                  <a:srgbClr val="45BC5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5" name="任意多边形 163">
                  <a:extLst>
                    <a:ext uri="{FF2B5EF4-FFF2-40B4-BE49-F238E27FC236}">
                      <a16:creationId xmlns:a16="http://schemas.microsoft.com/office/drawing/2014/main" id="{217A25B9-5B7F-7AFC-8782-B70DFEE4F8E1}"/>
                    </a:ext>
                  </a:extLst>
                </p:cNvPr>
                <p:cNvSpPr/>
                <p:nvPr/>
              </p:nvSpPr>
              <p:spPr>
                <a:xfrm>
                  <a:off x="8003856" y="390525"/>
                  <a:ext cx="745807" cy="286702"/>
                </a:xfrm>
                <a:custGeom>
                  <a:avLst/>
                  <a:gdLst>
                    <a:gd name="connsiteX0" fmla="*/ 371475 w 745807"/>
                    <a:gd name="connsiteY0" fmla="*/ 0 h 286702"/>
                    <a:gd name="connsiteX1" fmla="*/ 0 w 745807"/>
                    <a:gd name="connsiteY1" fmla="*/ 286703 h 286702"/>
                    <a:gd name="connsiteX2" fmla="*/ 373380 w 745807"/>
                    <a:gd name="connsiteY2" fmla="*/ 286703 h 286702"/>
                    <a:gd name="connsiteX3" fmla="*/ 745807 w 745807"/>
                    <a:gd name="connsiteY3" fmla="*/ 286703 h 286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5807" h="286702">
                      <a:moveTo>
                        <a:pt x="371475" y="0"/>
                      </a:moveTo>
                      <a:lnTo>
                        <a:pt x="0" y="286703"/>
                      </a:lnTo>
                      <a:lnTo>
                        <a:pt x="373380" y="286703"/>
                      </a:lnTo>
                      <a:lnTo>
                        <a:pt x="745807" y="286703"/>
                      </a:ln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6" name="任意多边形 164">
                  <a:extLst>
                    <a:ext uri="{FF2B5EF4-FFF2-40B4-BE49-F238E27FC236}">
                      <a16:creationId xmlns:a16="http://schemas.microsoft.com/office/drawing/2014/main" id="{239CADBE-6253-A96B-B807-8A77D736DC3B}"/>
                    </a:ext>
                  </a:extLst>
                </p:cNvPr>
                <p:cNvSpPr/>
                <p:nvPr/>
              </p:nvSpPr>
              <p:spPr>
                <a:xfrm>
                  <a:off x="8030526" y="219075"/>
                  <a:ext cx="690562" cy="248602"/>
                </a:xfrm>
                <a:custGeom>
                  <a:avLst/>
                  <a:gdLst>
                    <a:gd name="connsiteX0" fmla="*/ 343853 w 690562"/>
                    <a:gd name="connsiteY0" fmla="*/ 0 h 248602"/>
                    <a:gd name="connsiteX1" fmla="*/ 0 w 690562"/>
                    <a:gd name="connsiteY1" fmla="*/ 248603 h 248602"/>
                    <a:gd name="connsiteX2" fmla="*/ 344805 w 690562"/>
                    <a:gd name="connsiteY2" fmla="*/ 248603 h 248602"/>
                    <a:gd name="connsiteX3" fmla="*/ 690563 w 690562"/>
                    <a:gd name="connsiteY3" fmla="*/ 248603 h 2486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0562" h="248602">
                      <a:moveTo>
                        <a:pt x="343853" y="0"/>
                      </a:moveTo>
                      <a:lnTo>
                        <a:pt x="0" y="248603"/>
                      </a:lnTo>
                      <a:lnTo>
                        <a:pt x="344805" y="248603"/>
                      </a:lnTo>
                      <a:lnTo>
                        <a:pt x="690563" y="248603"/>
                      </a:ln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0EE8A529-A0C2-7EAA-9B89-4429797D4163}"/>
                </a:ext>
              </a:extLst>
            </p:cNvPr>
            <p:cNvGrpSpPr/>
            <p:nvPr/>
          </p:nvGrpSpPr>
          <p:grpSpPr>
            <a:xfrm>
              <a:off x="5240497" y="2258376"/>
              <a:ext cx="1892617" cy="2446972"/>
              <a:chOff x="5205412" y="325754"/>
              <a:chExt cx="1892617" cy="2446972"/>
            </a:xfrm>
          </p:grpSpPr>
          <p:sp>
            <p:nvSpPr>
              <p:cNvPr id="67" name="任意多边形 168">
                <a:extLst>
                  <a:ext uri="{FF2B5EF4-FFF2-40B4-BE49-F238E27FC236}">
                    <a16:creationId xmlns:a16="http://schemas.microsoft.com/office/drawing/2014/main" id="{2D4433C8-29BD-5179-5F6B-C6147B2C3C5E}"/>
                  </a:ext>
                </a:extLst>
              </p:cNvPr>
              <p:cNvSpPr/>
              <p:nvPr/>
            </p:nvSpPr>
            <p:spPr>
              <a:xfrm>
                <a:off x="6055042" y="425767"/>
                <a:ext cx="194309" cy="2346960"/>
              </a:xfrm>
              <a:custGeom>
                <a:avLst/>
                <a:gdLst>
                  <a:gd name="connsiteX0" fmla="*/ 194310 w 194309"/>
                  <a:gd name="connsiteY0" fmla="*/ 2346960 h 2346960"/>
                  <a:gd name="connsiteX1" fmla="*/ 0 w 194309"/>
                  <a:gd name="connsiteY1" fmla="*/ 2346960 h 2346960"/>
                  <a:gd name="connsiteX2" fmla="*/ 66675 w 194309"/>
                  <a:gd name="connsiteY2" fmla="*/ 0 h 2346960"/>
                  <a:gd name="connsiteX3" fmla="*/ 127635 w 194309"/>
                  <a:gd name="connsiteY3" fmla="*/ 0 h 2346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4309" h="2346960">
                    <a:moveTo>
                      <a:pt x="194310" y="2346960"/>
                    </a:moveTo>
                    <a:lnTo>
                      <a:pt x="0" y="2346960"/>
                    </a:lnTo>
                    <a:lnTo>
                      <a:pt x="66675" y="0"/>
                    </a:lnTo>
                    <a:lnTo>
                      <a:pt x="127635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8" name="组合 67">
                <a:extLst>
                  <a:ext uri="{FF2B5EF4-FFF2-40B4-BE49-F238E27FC236}">
                    <a16:creationId xmlns:a16="http://schemas.microsoft.com/office/drawing/2014/main" id="{0E828CA0-2B27-4FF0-3F8F-362952D1CC0B}"/>
                  </a:ext>
                </a:extLst>
              </p:cNvPr>
              <p:cNvGrpSpPr/>
              <p:nvPr/>
            </p:nvGrpSpPr>
            <p:grpSpPr>
              <a:xfrm>
                <a:off x="5205412" y="325754"/>
                <a:ext cx="1892617" cy="1728787"/>
                <a:chOff x="5205412" y="325754"/>
                <a:chExt cx="1892617" cy="1728787"/>
              </a:xfrm>
            </p:grpSpPr>
            <p:sp>
              <p:nvSpPr>
                <p:cNvPr id="69" name="任意多边形 170">
                  <a:extLst>
                    <a:ext uri="{FF2B5EF4-FFF2-40B4-BE49-F238E27FC236}">
                      <a16:creationId xmlns:a16="http://schemas.microsoft.com/office/drawing/2014/main" id="{89036D5B-F315-A58D-CCF7-A3350BDF4A45}"/>
                    </a:ext>
                  </a:extLst>
                </p:cNvPr>
                <p:cNvSpPr/>
                <p:nvPr/>
              </p:nvSpPr>
              <p:spPr>
                <a:xfrm>
                  <a:off x="5354954" y="596264"/>
                  <a:ext cx="741044" cy="741045"/>
                </a:xfrm>
                <a:custGeom>
                  <a:avLst/>
                  <a:gdLst>
                    <a:gd name="connsiteX0" fmla="*/ 741045 w 741044"/>
                    <a:gd name="connsiteY0" fmla="*/ 370523 h 741045"/>
                    <a:gd name="connsiteX1" fmla="*/ 370522 w 741044"/>
                    <a:gd name="connsiteY1" fmla="*/ 741045 h 741045"/>
                    <a:gd name="connsiteX2" fmla="*/ 0 w 741044"/>
                    <a:gd name="connsiteY2" fmla="*/ 370523 h 741045"/>
                    <a:gd name="connsiteX3" fmla="*/ 370522 w 741044"/>
                    <a:gd name="connsiteY3" fmla="*/ 0 h 741045"/>
                    <a:gd name="connsiteX4" fmla="*/ 741045 w 741044"/>
                    <a:gd name="connsiteY4" fmla="*/ 370523 h 741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1044" h="741045">
                      <a:moveTo>
                        <a:pt x="741045" y="370523"/>
                      </a:moveTo>
                      <a:cubicBezTo>
                        <a:pt x="741045" y="575310"/>
                        <a:pt x="575310" y="741045"/>
                        <a:pt x="370522" y="741045"/>
                      </a:cubicBezTo>
                      <a:cubicBezTo>
                        <a:pt x="165735" y="741045"/>
                        <a:pt x="0" y="575310"/>
                        <a:pt x="0" y="370523"/>
                      </a:cubicBezTo>
                      <a:cubicBezTo>
                        <a:pt x="0" y="165735"/>
                        <a:pt x="165735" y="0"/>
                        <a:pt x="370522" y="0"/>
                      </a:cubicBezTo>
                      <a:cubicBezTo>
                        <a:pt x="574357" y="0"/>
                        <a:pt x="741045" y="165735"/>
                        <a:pt x="741045" y="370523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0" name="任意多边形 171">
                  <a:extLst>
                    <a:ext uri="{FF2B5EF4-FFF2-40B4-BE49-F238E27FC236}">
                      <a16:creationId xmlns:a16="http://schemas.microsoft.com/office/drawing/2014/main" id="{C780C4B8-6F91-E2B7-1DF4-1331E326ACE1}"/>
                    </a:ext>
                  </a:extLst>
                </p:cNvPr>
                <p:cNvSpPr/>
                <p:nvPr/>
              </p:nvSpPr>
              <p:spPr>
                <a:xfrm>
                  <a:off x="6587489" y="866769"/>
                  <a:ext cx="510540" cy="510545"/>
                </a:xfrm>
                <a:custGeom>
                  <a:avLst/>
                  <a:gdLst>
                    <a:gd name="connsiteX0" fmla="*/ 510540 w 510540"/>
                    <a:gd name="connsiteY0" fmla="*/ 255276 h 510545"/>
                    <a:gd name="connsiteX1" fmla="*/ 255270 w 510540"/>
                    <a:gd name="connsiteY1" fmla="*/ 510546 h 510545"/>
                    <a:gd name="connsiteX2" fmla="*/ 0 w 510540"/>
                    <a:gd name="connsiteY2" fmla="*/ 255276 h 510545"/>
                    <a:gd name="connsiteX3" fmla="*/ 255270 w 510540"/>
                    <a:gd name="connsiteY3" fmla="*/ 6 h 510545"/>
                    <a:gd name="connsiteX4" fmla="*/ 510540 w 510540"/>
                    <a:gd name="connsiteY4" fmla="*/ 255276 h 5105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0540" h="510545">
                      <a:moveTo>
                        <a:pt x="510540" y="255276"/>
                      </a:moveTo>
                      <a:cubicBezTo>
                        <a:pt x="510540" y="396246"/>
                        <a:pt x="396240" y="510546"/>
                        <a:pt x="255270" y="510546"/>
                      </a:cubicBezTo>
                      <a:cubicBezTo>
                        <a:pt x="114300" y="510546"/>
                        <a:pt x="0" y="396246"/>
                        <a:pt x="0" y="255276"/>
                      </a:cubicBezTo>
                      <a:cubicBezTo>
                        <a:pt x="0" y="114306"/>
                        <a:pt x="114300" y="6"/>
                        <a:pt x="255270" y="6"/>
                      </a:cubicBezTo>
                      <a:cubicBezTo>
                        <a:pt x="396240" y="-947"/>
                        <a:pt x="510540" y="114306"/>
                        <a:pt x="510540" y="255276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1" name="任意多边形 172">
                  <a:extLst>
                    <a:ext uri="{FF2B5EF4-FFF2-40B4-BE49-F238E27FC236}">
                      <a16:creationId xmlns:a16="http://schemas.microsoft.com/office/drawing/2014/main" id="{45852896-3580-FC80-BB74-E128DBCB25C1}"/>
                    </a:ext>
                  </a:extLst>
                </p:cNvPr>
                <p:cNvSpPr/>
                <p:nvPr/>
              </p:nvSpPr>
              <p:spPr>
                <a:xfrm>
                  <a:off x="5427344" y="545782"/>
                  <a:ext cx="1508760" cy="1508759"/>
                </a:xfrm>
                <a:custGeom>
                  <a:avLst/>
                  <a:gdLst>
                    <a:gd name="connsiteX0" fmla="*/ 1508760 w 1508760"/>
                    <a:gd name="connsiteY0" fmla="*/ 754380 h 1508759"/>
                    <a:gd name="connsiteX1" fmla="*/ 754380 w 1508760"/>
                    <a:gd name="connsiteY1" fmla="*/ 1508760 h 1508759"/>
                    <a:gd name="connsiteX2" fmla="*/ 0 w 1508760"/>
                    <a:gd name="connsiteY2" fmla="*/ 754380 h 1508759"/>
                    <a:gd name="connsiteX3" fmla="*/ 754380 w 1508760"/>
                    <a:gd name="connsiteY3" fmla="*/ 0 h 1508759"/>
                    <a:gd name="connsiteX4" fmla="*/ 1508760 w 1508760"/>
                    <a:gd name="connsiteY4" fmla="*/ 754380 h 1508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760" h="1508759">
                      <a:moveTo>
                        <a:pt x="1508760" y="754380"/>
                      </a:moveTo>
                      <a:cubicBezTo>
                        <a:pt x="1508760" y="1170623"/>
                        <a:pt x="1171575" y="1508760"/>
                        <a:pt x="754380" y="1508760"/>
                      </a:cubicBezTo>
                      <a:cubicBezTo>
                        <a:pt x="338138" y="1508760"/>
                        <a:pt x="0" y="1171575"/>
                        <a:pt x="0" y="754380"/>
                      </a:cubicBezTo>
                      <a:cubicBezTo>
                        <a:pt x="0" y="338138"/>
                        <a:pt x="337185" y="0"/>
                        <a:pt x="754380" y="0"/>
                      </a:cubicBezTo>
                      <a:cubicBezTo>
                        <a:pt x="1171575" y="953"/>
                        <a:pt x="1508760" y="338138"/>
                        <a:pt x="1508760" y="754380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2" name="任意多边形 173">
                  <a:extLst>
                    <a:ext uri="{FF2B5EF4-FFF2-40B4-BE49-F238E27FC236}">
                      <a16:creationId xmlns:a16="http://schemas.microsoft.com/office/drawing/2014/main" id="{87ED978A-82A5-87A8-042C-E55759CA1A98}"/>
                    </a:ext>
                  </a:extLst>
                </p:cNvPr>
                <p:cNvSpPr/>
                <p:nvPr/>
              </p:nvSpPr>
              <p:spPr>
                <a:xfrm>
                  <a:off x="5205412" y="1026795"/>
                  <a:ext cx="798194" cy="798195"/>
                </a:xfrm>
                <a:custGeom>
                  <a:avLst/>
                  <a:gdLst>
                    <a:gd name="connsiteX0" fmla="*/ 798195 w 798194"/>
                    <a:gd name="connsiteY0" fmla="*/ 399097 h 798195"/>
                    <a:gd name="connsiteX1" fmla="*/ 399097 w 798194"/>
                    <a:gd name="connsiteY1" fmla="*/ 798195 h 798195"/>
                    <a:gd name="connsiteX2" fmla="*/ 0 w 798194"/>
                    <a:gd name="connsiteY2" fmla="*/ 399097 h 798195"/>
                    <a:gd name="connsiteX3" fmla="*/ 399097 w 798194"/>
                    <a:gd name="connsiteY3" fmla="*/ 0 h 798195"/>
                    <a:gd name="connsiteX4" fmla="*/ 798195 w 798194"/>
                    <a:gd name="connsiteY4" fmla="*/ 399097 h 798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98194" h="798195">
                      <a:moveTo>
                        <a:pt x="798195" y="399097"/>
                      </a:moveTo>
                      <a:cubicBezTo>
                        <a:pt x="798195" y="619125"/>
                        <a:pt x="619125" y="798195"/>
                        <a:pt x="399097" y="798195"/>
                      </a:cubicBezTo>
                      <a:cubicBezTo>
                        <a:pt x="179070" y="798195"/>
                        <a:pt x="0" y="619125"/>
                        <a:pt x="0" y="399097"/>
                      </a:cubicBezTo>
                      <a:cubicBezTo>
                        <a:pt x="0" y="179070"/>
                        <a:pt x="179070" y="0"/>
                        <a:pt x="399097" y="0"/>
                      </a:cubicBezTo>
                      <a:cubicBezTo>
                        <a:pt x="619125" y="0"/>
                        <a:pt x="798195" y="179070"/>
                        <a:pt x="798195" y="399097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3" name="任意多边形 174">
                  <a:extLst>
                    <a:ext uri="{FF2B5EF4-FFF2-40B4-BE49-F238E27FC236}">
                      <a16:creationId xmlns:a16="http://schemas.microsoft.com/office/drawing/2014/main" id="{83A364DA-108D-EFFF-827F-7748356E0A7F}"/>
                    </a:ext>
                  </a:extLst>
                </p:cNvPr>
                <p:cNvSpPr/>
                <p:nvPr/>
              </p:nvSpPr>
              <p:spPr>
                <a:xfrm>
                  <a:off x="6276021" y="1425892"/>
                  <a:ext cx="609600" cy="609600"/>
                </a:xfrm>
                <a:custGeom>
                  <a:avLst/>
                  <a:gdLst>
                    <a:gd name="connsiteX0" fmla="*/ 609600 w 609600"/>
                    <a:gd name="connsiteY0" fmla="*/ 304800 h 609600"/>
                    <a:gd name="connsiteX1" fmla="*/ 304800 w 609600"/>
                    <a:gd name="connsiteY1" fmla="*/ 609600 h 609600"/>
                    <a:gd name="connsiteX2" fmla="*/ 0 w 609600"/>
                    <a:gd name="connsiteY2" fmla="*/ 304800 h 609600"/>
                    <a:gd name="connsiteX3" fmla="*/ 304800 w 609600"/>
                    <a:gd name="connsiteY3" fmla="*/ 0 h 609600"/>
                    <a:gd name="connsiteX4" fmla="*/ 609600 w 609600"/>
                    <a:gd name="connsiteY4" fmla="*/ 304800 h 609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9600" h="609600">
                      <a:moveTo>
                        <a:pt x="609600" y="304800"/>
                      </a:moveTo>
                      <a:cubicBezTo>
                        <a:pt x="609600" y="473392"/>
                        <a:pt x="473393" y="609600"/>
                        <a:pt x="304800" y="609600"/>
                      </a:cubicBezTo>
                      <a:cubicBezTo>
                        <a:pt x="136208" y="609600"/>
                        <a:pt x="0" y="473392"/>
                        <a:pt x="0" y="304800"/>
                      </a:cubicBezTo>
                      <a:cubicBezTo>
                        <a:pt x="0" y="136208"/>
                        <a:pt x="136208" y="0"/>
                        <a:pt x="304800" y="0"/>
                      </a:cubicBezTo>
                      <a:cubicBezTo>
                        <a:pt x="473393" y="0"/>
                        <a:pt x="609600" y="136208"/>
                        <a:pt x="609600" y="30480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4" name="任意多边形 175">
                  <a:extLst>
                    <a:ext uri="{FF2B5EF4-FFF2-40B4-BE49-F238E27FC236}">
                      <a16:creationId xmlns:a16="http://schemas.microsoft.com/office/drawing/2014/main" id="{297248F1-49D8-9218-369A-9711FCB5E1D8}"/>
                    </a:ext>
                  </a:extLst>
                </p:cNvPr>
                <p:cNvSpPr/>
                <p:nvPr/>
              </p:nvSpPr>
              <p:spPr>
                <a:xfrm>
                  <a:off x="5838824" y="325754"/>
                  <a:ext cx="1003934" cy="1003934"/>
                </a:xfrm>
                <a:custGeom>
                  <a:avLst/>
                  <a:gdLst>
                    <a:gd name="connsiteX0" fmla="*/ 1003935 w 1003934"/>
                    <a:gd name="connsiteY0" fmla="*/ 501968 h 1003934"/>
                    <a:gd name="connsiteX1" fmla="*/ 501968 w 1003934"/>
                    <a:gd name="connsiteY1" fmla="*/ 1003935 h 1003934"/>
                    <a:gd name="connsiteX2" fmla="*/ 0 w 1003934"/>
                    <a:gd name="connsiteY2" fmla="*/ 501968 h 1003934"/>
                    <a:gd name="connsiteX3" fmla="*/ 501968 w 1003934"/>
                    <a:gd name="connsiteY3" fmla="*/ 0 h 1003934"/>
                    <a:gd name="connsiteX4" fmla="*/ 1003935 w 1003934"/>
                    <a:gd name="connsiteY4" fmla="*/ 501968 h 1003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3934" h="1003934">
                      <a:moveTo>
                        <a:pt x="1003935" y="501968"/>
                      </a:moveTo>
                      <a:cubicBezTo>
                        <a:pt x="1003935" y="779145"/>
                        <a:pt x="779145" y="1003935"/>
                        <a:pt x="501968" y="1003935"/>
                      </a:cubicBezTo>
                      <a:cubicBezTo>
                        <a:pt x="224790" y="1003935"/>
                        <a:pt x="0" y="779145"/>
                        <a:pt x="0" y="501968"/>
                      </a:cubicBezTo>
                      <a:cubicBezTo>
                        <a:pt x="0" y="224790"/>
                        <a:pt x="224790" y="0"/>
                        <a:pt x="501968" y="0"/>
                      </a:cubicBezTo>
                      <a:cubicBezTo>
                        <a:pt x="779145" y="0"/>
                        <a:pt x="1003935" y="224790"/>
                        <a:pt x="1003935" y="501968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5" name="任意多边形 176">
                  <a:extLst>
                    <a:ext uri="{FF2B5EF4-FFF2-40B4-BE49-F238E27FC236}">
                      <a16:creationId xmlns:a16="http://schemas.microsoft.com/office/drawing/2014/main" id="{F6192EB6-B73E-7024-6684-4B7E668E7FF6}"/>
                    </a:ext>
                  </a:extLst>
                </p:cNvPr>
                <p:cNvSpPr/>
                <p:nvPr/>
              </p:nvSpPr>
              <p:spPr>
                <a:xfrm>
                  <a:off x="6095046" y="1067752"/>
                  <a:ext cx="716280" cy="716280"/>
                </a:xfrm>
                <a:custGeom>
                  <a:avLst/>
                  <a:gdLst>
                    <a:gd name="connsiteX0" fmla="*/ 716280 w 716280"/>
                    <a:gd name="connsiteY0" fmla="*/ 358140 h 716280"/>
                    <a:gd name="connsiteX1" fmla="*/ 358140 w 716280"/>
                    <a:gd name="connsiteY1" fmla="*/ 716280 h 716280"/>
                    <a:gd name="connsiteX2" fmla="*/ 0 w 716280"/>
                    <a:gd name="connsiteY2" fmla="*/ 358140 h 716280"/>
                    <a:gd name="connsiteX3" fmla="*/ 358140 w 716280"/>
                    <a:gd name="connsiteY3" fmla="*/ 0 h 716280"/>
                    <a:gd name="connsiteX4" fmla="*/ 716280 w 716280"/>
                    <a:gd name="connsiteY4" fmla="*/ 358140 h 716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6280" h="716280">
                      <a:moveTo>
                        <a:pt x="716280" y="358140"/>
                      </a:moveTo>
                      <a:cubicBezTo>
                        <a:pt x="716280" y="556260"/>
                        <a:pt x="556260" y="716280"/>
                        <a:pt x="358140" y="716280"/>
                      </a:cubicBezTo>
                      <a:cubicBezTo>
                        <a:pt x="160020" y="716280"/>
                        <a:pt x="0" y="556260"/>
                        <a:pt x="0" y="358140"/>
                      </a:cubicBezTo>
                      <a:cubicBezTo>
                        <a:pt x="0" y="160020"/>
                        <a:pt x="160020" y="0"/>
                        <a:pt x="358140" y="0"/>
                      </a:cubicBezTo>
                      <a:cubicBezTo>
                        <a:pt x="556260" y="0"/>
                        <a:pt x="716280" y="160020"/>
                        <a:pt x="716280" y="35814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" name="任意多边形 177">
                  <a:extLst>
                    <a:ext uri="{FF2B5EF4-FFF2-40B4-BE49-F238E27FC236}">
                      <a16:creationId xmlns:a16="http://schemas.microsoft.com/office/drawing/2014/main" id="{6622D1DE-115D-1D7A-508A-90656F1A0010}"/>
                    </a:ext>
                  </a:extLst>
                </p:cNvPr>
                <p:cNvSpPr/>
                <p:nvPr/>
              </p:nvSpPr>
              <p:spPr>
                <a:xfrm>
                  <a:off x="5825489" y="1122045"/>
                  <a:ext cx="356234" cy="356234"/>
                </a:xfrm>
                <a:custGeom>
                  <a:avLst/>
                  <a:gdLst>
                    <a:gd name="connsiteX0" fmla="*/ 356235 w 356234"/>
                    <a:gd name="connsiteY0" fmla="*/ 178117 h 356234"/>
                    <a:gd name="connsiteX1" fmla="*/ 178117 w 356234"/>
                    <a:gd name="connsiteY1" fmla="*/ 356235 h 356234"/>
                    <a:gd name="connsiteX2" fmla="*/ 0 w 356234"/>
                    <a:gd name="connsiteY2" fmla="*/ 178117 h 356234"/>
                    <a:gd name="connsiteX3" fmla="*/ 178117 w 356234"/>
                    <a:gd name="connsiteY3" fmla="*/ 0 h 356234"/>
                    <a:gd name="connsiteX4" fmla="*/ 356235 w 356234"/>
                    <a:gd name="connsiteY4" fmla="*/ 178117 h 3562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234" h="356234">
                      <a:moveTo>
                        <a:pt x="356235" y="178117"/>
                      </a:moveTo>
                      <a:cubicBezTo>
                        <a:pt x="356235" y="276225"/>
                        <a:pt x="276225" y="356235"/>
                        <a:pt x="178117" y="356235"/>
                      </a:cubicBezTo>
                      <a:cubicBezTo>
                        <a:pt x="80010" y="356235"/>
                        <a:pt x="0" y="276225"/>
                        <a:pt x="0" y="178117"/>
                      </a:cubicBezTo>
                      <a:cubicBezTo>
                        <a:pt x="0" y="80010"/>
                        <a:pt x="80010" y="0"/>
                        <a:pt x="178117" y="0"/>
                      </a:cubicBezTo>
                      <a:cubicBezTo>
                        <a:pt x="277178" y="0"/>
                        <a:pt x="356235" y="80010"/>
                        <a:pt x="356235" y="178117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7" name="任意多边形 178">
                  <a:extLst>
                    <a:ext uri="{FF2B5EF4-FFF2-40B4-BE49-F238E27FC236}">
                      <a16:creationId xmlns:a16="http://schemas.microsoft.com/office/drawing/2014/main" id="{F88428BB-E988-EE1D-7B4A-A2175BCC689A}"/>
                    </a:ext>
                  </a:extLst>
                </p:cNvPr>
                <p:cNvSpPr/>
                <p:nvPr/>
              </p:nvSpPr>
              <p:spPr>
                <a:xfrm>
                  <a:off x="6644639" y="1199197"/>
                  <a:ext cx="419100" cy="419099"/>
                </a:xfrm>
                <a:custGeom>
                  <a:avLst/>
                  <a:gdLst>
                    <a:gd name="connsiteX0" fmla="*/ 419100 w 419100"/>
                    <a:gd name="connsiteY0" fmla="*/ 209550 h 419099"/>
                    <a:gd name="connsiteX1" fmla="*/ 209550 w 419100"/>
                    <a:gd name="connsiteY1" fmla="*/ 419100 h 419099"/>
                    <a:gd name="connsiteX2" fmla="*/ 0 w 419100"/>
                    <a:gd name="connsiteY2" fmla="*/ 209550 h 419099"/>
                    <a:gd name="connsiteX3" fmla="*/ 209550 w 419100"/>
                    <a:gd name="connsiteY3" fmla="*/ 0 h 419099"/>
                    <a:gd name="connsiteX4" fmla="*/ 419100 w 419100"/>
                    <a:gd name="connsiteY4" fmla="*/ 209550 h 419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9100" h="419099">
                      <a:moveTo>
                        <a:pt x="419100" y="209550"/>
                      </a:moveTo>
                      <a:cubicBezTo>
                        <a:pt x="419100" y="325755"/>
                        <a:pt x="324803" y="419100"/>
                        <a:pt x="209550" y="419100"/>
                      </a:cubicBezTo>
                      <a:cubicBezTo>
                        <a:pt x="93345" y="419100"/>
                        <a:pt x="0" y="324803"/>
                        <a:pt x="0" y="209550"/>
                      </a:cubicBezTo>
                      <a:cubicBezTo>
                        <a:pt x="0" y="93345"/>
                        <a:pt x="94297" y="0"/>
                        <a:pt x="209550" y="0"/>
                      </a:cubicBezTo>
                      <a:cubicBezTo>
                        <a:pt x="325755" y="0"/>
                        <a:pt x="419100" y="94298"/>
                        <a:pt x="419100" y="20955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8" name="任意多边形 179">
                  <a:extLst>
                    <a:ext uri="{FF2B5EF4-FFF2-40B4-BE49-F238E27FC236}">
                      <a16:creationId xmlns:a16="http://schemas.microsoft.com/office/drawing/2014/main" id="{9554263F-2169-A2E2-EBCA-EAB998EBDB03}"/>
                    </a:ext>
                  </a:extLst>
                </p:cNvPr>
                <p:cNvSpPr/>
                <p:nvPr/>
              </p:nvSpPr>
              <p:spPr>
                <a:xfrm>
                  <a:off x="5653087" y="1349692"/>
                  <a:ext cx="499109" cy="499110"/>
                </a:xfrm>
                <a:custGeom>
                  <a:avLst/>
                  <a:gdLst>
                    <a:gd name="connsiteX0" fmla="*/ 499110 w 499109"/>
                    <a:gd name="connsiteY0" fmla="*/ 249555 h 499110"/>
                    <a:gd name="connsiteX1" fmla="*/ 249555 w 499109"/>
                    <a:gd name="connsiteY1" fmla="*/ 499110 h 499110"/>
                    <a:gd name="connsiteX2" fmla="*/ 0 w 499109"/>
                    <a:gd name="connsiteY2" fmla="*/ 249555 h 499110"/>
                    <a:gd name="connsiteX3" fmla="*/ 249555 w 499109"/>
                    <a:gd name="connsiteY3" fmla="*/ 0 h 499110"/>
                    <a:gd name="connsiteX4" fmla="*/ 499110 w 499109"/>
                    <a:gd name="connsiteY4" fmla="*/ 249555 h 499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9109" h="499110">
                      <a:moveTo>
                        <a:pt x="499110" y="249555"/>
                      </a:moveTo>
                      <a:cubicBezTo>
                        <a:pt x="499110" y="387667"/>
                        <a:pt x="387668" y="499110"/>
                        <a:pt x="249555" y="499110"/>
                      </a:cubicBezTo>
                      <a:cubicBezTo>
                        <a:pt x="111443" y="499110"/>
                        <a:pt x="0" y="387667"/>
                        <a:pt x="0" y="249555"/>
                      </a:cubicBezTo>
                      <a:cubicBezTo>
                        <a:pt x="0" y="111442"/>
                        <a:pt x="111443" y="0"/>
                        <a:pt x="249555" y="0"/>
                      </a:cubicBezTo>
                      <a:cubicBezTo>
                        <a:pt x="386715" y="0"/>
                        <a:pt x="499110" y="111442"/>
                        <a:pt x="499110" y="249555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00FFA798-9BCA-0061-7C06-5D5DB71C5A46}"/>
                </a:ext>
              </a:extLst>
            </p:cNvPr>
            <p:cNvGrpSpPr/>
            <p:nvPr/>
          </p:nvGrpSpPr>
          <p:grpSpPr>
            <a:xfrm>
              <a:off x="3252047" y="2196916"/>
              <a:ext cx="995191" cy="2508433"/>
              <a:chOff x="3216962" y="264294"/>
              <a:chExt cx="995191" cy="2508433"/>
            </a:xfrm>
          </p:grpSpPr>
          <p:sp>
            <p:nvSpPr>
              <p:cNvPr id="56" name="任意多边形 183">
                <a:extLst>
                  <a:ext uri="{FF2B5EF4-FFF2-40B4-BE49-F238E27FC236}">
                    <a16:creationId xmlns:a16="http://schemas.microsoft.com/office/drawing/2014/main" id="{8D36E804-2426-3841-ADF6-A82977FC7192}"/>
                  </a:ext>
                </a:extLst>
              </p:cNvPr>
              <p:cNvSpPr/>
              <p:nvPr/>
            </p:nvSpPr>
            <p:spPr>
              <a:xfrm>
                <a:off x="3281110" y="264294"/>
                <a:ext cx="868010" cy="2011450"/>
              </a:xfrm>
              <a:custGeom>
                <a:avLst/>
                <a:gdLst>
                  <a:gd name="connsiteX0" fmla="*/ 526032 w 868010"/>
                  <a:gd name="connsiteY0" fmla="*/ 1999798 h 2011450"/>
                  <a:gd name="connsiteX1" fmla="*/ 838452 w 868010"/>
                  <a:gd name="connsiteY1" fmla="*/ 1649278 h 2011450"/>
                  <a:gd name="connsiteX2" fmla="*/ 768919 w 868010"/>
                  <a:gd name="connsiteY2" fmla="*/ 172903 h 2011450"/>
                  <a:gd name="connsiteX3" fmla="*/ 105979 w 868010"/>
                  <a:gd name="connsiteY3" fmla="*/ 97656 h 2011450"/>
                  <a:gd name="connsiteX4" fmla="*/ 35495 w 868010"/>
                  <a:gd name="connsiteY4" fmla="*/ 1321618 h 2011450"/>
                  <a:gd name="connsiteX5" fmla="*/ 526032 w 868010"/>
                  <a:gd name="connsiteY5" fmla="*/ 1999798 h 201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8010" h="2011450">
                    <a:moveTo>
                      <a:pt x="526032" y="1999798"/>
                    </a:moveTo>
                    <a:cubicBezTo>
                      <a:pt x="643190" y="1975033"/>
                      <a:pt x="826069" y="1932171"/>
                      <a:pt x="838452" y="1649278"/>
                    </a:cubicBezTo>
                    <a:cubicBezTo>
                      <a:pt x="850835" y="1367338"/>
                      <a:pt x="927987" y="352926"/>
                      <a:pt x="768919" y="172903"/>
                    </a:cubicBezTo>
                    <a:cubicBezTo>
                      <a:pt x="609852" y="-8072"/>
                      <a:pt x="305052" y="-69032"/>
                      <a:pt x="105979" y="97656"/>
                    </a:cubicBezTo>
                    <a:cubicBezTo>
                      <a:pt x="-93093" y="263391"/>
                      <a:pt x="52639" y="1125403"/>
                      <a:pt x="35495" y="1321618"/>
                    </a:cubicBezTo>
                    <a:cubicBezTo>
                      <a:pt x="17397" y="1517833"/>
                      <a:pt x="42162" y="2100763"/>
                      <a:pt x="526032" y="19997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 184">
                <a:extLst>
                  <a:ext uri="{FF2B5EF4-FFF2-40B4-BE49-F238E27FC236}">
                    <a16:creationId xmlns:a16="http://schemas.microsoft.com/office/drawing/2014/main" id="{5106A0EA-896B-CB77-B61C-7671FAC5E0C1}"/>
                  </a:ext>
                </a:extLst>
              </p:cNvPr>
              <p:cNvSpPr/>
              <p:nvPr/>
            </p:nvSpPr>
            <p:spPr>
              <a:xfrm>
                <a:off x="3702315" y="1480537"/>
                <a:ext cx="489368" cy="580319"/>
              </a:xfrm>
              <a:custGeom>
                <a:avLst/>
                <a:gdLst>
                  <a:gd name="connsiteX0" fmla="*/ 230556 w 489368"/>
                  <a:gd name="connsiteY0" fmla="*/ 579720 h 580319"/>
                  <a:gd name="connsiteX1" fmla="*/ 462966 w 489368"/>
                  <a:gd name="connsiteY1" fmla="*/ 432083 h 580319"/>
                  <a:gd name="connsiteX2" fmla="*/ 380099 w 489368"/>
                  <a:gd name="connsiteY2" fmla="*/ 32985 h 580319"/>
                  <a:gd name="connsiteX3" fmla="*/ 21006 w 489368"/>
                  <a:gd name="connsiteY3" fmla="*/ 136808 h 580319"/>
                  <a:gd name="connsiteX4" fmla="*/ 230556 w 489368"/>
                  <a:gd name="connsiteY4" fmla="*/ 579720 h 580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9368" h="580319">
                    <a:moveTo>
                      <a:pt x="230556" y="579720"/>
                    </a:moveTo>
                    <a:cubicBezTo>
                      <a:pt x="335331" y="573053"/>
                      <a:pt x="423914" y="542573"/>
                      <a:pt x="462966" y="432083"/>
                    </a:cubicBezTo>
                    <a:cubicBezTo>
                      <a:pt x="502019" y="321593"/>
                      <a:pt x="514401" y="113948"/>
                      <a:pt x="380099" y="32985"/>
                    </a:cubicBezTo>
                    <a:cubicBezTo>
                      <a:pt x="246749" y="-47977"/>
                      <a:pt x="58154" y="32985"/>
                      <a:pt x="21006" y="136808"/>
                    </a:cubicBezTo>
                    <a:cubicBezTo>
                      <a:pt x="-16141" y="241583"/>
                      <a:pt x="-33286" y="596865"/>
                      <a:pt x="230556" y="57972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 185">
                <a:extLst>
                  <a:ext uri="{FF2B5EF4-FFF2-40B4-BE49-F238E27FC236}">
                    <a16:creationId xmlns:a16="http://schemas.microsoft.com/office/drawing/2014/main" id="{0B8BD6D3-84C7-8C25-A59F-75891DBCFFBB}"/>
                  </a:ext>
                </a:extLst>
              </p:cNvPr>
              <p:cNvSpPr/>
              <p:nvPr/>
            </p:nvSpPr>
            <p:spPr>
              <a:xfrm>
                <a:off x="3653789" y="948689"/>
                <a:ext cx="150495" cy="1824037"/>
              </a:xfrm>
              <a:custGeom>
                <a:avLst/>
                <a:gdLst>
                  <a:gd name="connsiteX0" fmla="*/ 150495 w 150495"/>
                  <a:gd name="connsiteY0" fmla="*/ 1824038 h 1824037"/>
                  <a:gd name="connsiteX1" fmla="*/ 0 w 150495"/>
                  <a:gd name="connsiteY1" fmla="*/ 1824038 h 1824037"/>
                  <a:gd name="connsiteX2" fmla="*/ 51435 w 150495"/>
                  <a:gd name="connsiteY2" fmla="*/ 0 h 1824037"/>
                  <a:gd name="connsiteX3" fmla="*/ 99060 w 150495"/>
                  <a:gd name="connsiteY3" fmla="*/ 0 h 1824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495" h="1824037">
                    <a:moveTo>
                      <a:pt x="150495" y="1824038"/>
                    </a:moveTo>
                    <a:lnTo>
                      <a:pt x="0" y="1824038"/>
                    </a:lnTo>
                    <a:lnTo>
                      <a:pt x="51435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 186">
                <a:extLst>
                  <a:ext uri="{FF2B5EF4-FFF2-40B4-BE49-F238E27FC236}">
                    <a16:creationId xmlns:a16="http://schemas.microsoft.com/office/drawing/2014/main" id="{325AA8C7-F6B9-38DC-6F55-3175003A4918}"/>
                  </a:ext>
                </a:extLst>
              </p:cNvPr>
              <p:cNvSpPr/>
              <p:nvPr/>
            </p:nvSpPr>
            <p:spPr>
              <a:xfrm>
                <a:off x="3443804" y="838200"/>
                <a:ext cx="284279" cy="289560"/>
              </a:xfrm>
              <a:custGeom>
                <a:avLst/>
                <a:gdLst>
                  <a:gd name="connsiteX0" fmla="*/ 284280 w 284279"/>
                  <a:gd name="connsiteY0" fmla="*/ 235267 h 289560"/>
                  <a:gd name="connsiteX1" fmla="*/ 64252 w 284279"/>
                  <a:gd name="connsiteY1" fmla="*/ 0 h 289560"/>
                  <a:gd name="connsiteX2" fmla="*/ 435 w 284279"/>
                  <a:gd name="connsiteY2" fmla="*/ 20002 h 289560"/>
                  <a:gd name="connsiteX3" fmla="*/ 281422 w 284279"/>
                  <a:gd name="connsiteY3" fmla="*/ 289560 h 289560"/>
                  <a:gd name="connsiteX4" fmla="*/ 284280 w 284279"/>
                  <a:gd name="connsiteY4" fmla="*/ 235267 h 289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60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 187">
                <a:extLst>
                  <a:ext uri="{FF2B5EF4-FFF2-40B4-BE49-F238E27FC236}">
                    <a16:creationId xmlns:a16="http://schemas.microsoft.com/office/drawing/2014/main" id="{DC3531B5-95DF-0E14-CD45-BF50ECF0C337}"/>
                  </a:ext>
                </a:extLst>
              </p:cNvPr>
              <p:cNvSpPr/>
              <p:nvPr/>
            </p:nvSpPr>
            <p:spPr>
              <a:xfrm>
                <a:off x="3443804" y="1560195"/>
                <a:ext cx="284279" cy="289559"/>
              </a:xfrm>
              <a:custGeom>
                <a:avLst/>
                <a:gdLst>
                  <a:gd name="connsiteX0" fmla="*/ 284280 w 284279"/>
                  <a:gd name="connsiteY0" fmla="*/ 235267 h 289559"/>
                  <a:gd name="connsiteX1" fmla="*/ 64252 w 284279"/>
                  <a:gd name="connsiteY1" fmla="*/ 0 h 289559"/>
                  <a:gd name="connsiteX2" fmla="*/ 435 w 284279"/>
                  <a:gd name="connsiteY2" fmla="*/ 20002 h 289559"/>
                  <a:gd name="connsiteX3" fmla="*/ 281422 w 284279"/>
                  <a:gd name="connsiteY3" fmla="*/ 289560 h 289559"/>
                  <a:gd name="connsiteX4" fmla="*/ 284280 w 284279"/>
                  <a:gd name="connsiteY4" fmla="*/ 235267 h 289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59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 188">
                <a:extLst>
                  <a:ext uri="{FF2B5EF4-FFF2-40B4-BE49-F238E27FC236}">
                    <a16:creationId xmlns:a16="http://schemas.microsoft.com/office/drawing/2014/main" id="{E2A4489C-D121-070F-FF5E-0A9986841204}"/>
                  </a:ext>
                </a:extLst>
              </p:cNvPr>
              <p:cNvSpPr/>
              <p:nvPr/>
            </p:nvSpPr>
            <p:spPr>
              <a:xfrm>
                <a:off x="3724274" y="1116329"/>
                <a:ext cx="317182" cy="255270"/>
              </a:xfrm>
              <a:custGeom>
                <a:avLst/>
                <a:gdLst>
                  <a:gd name="connsiteX0" fmla="*/ 5715 w 317182"/>
                  <a:gd name="connsiteY0" fmla="*/ 200978 h 255270"/>
                  <a:gd name="connsiteX1" fmla="*/ 257175 w 317182"/>
                  <a:gd name="connsiteY1" fmla="*/ 0 h 255270"/>
                  <a:gd name="connsiteX2" fmla="*/ 317183 w 317182"/>
                  <a:gd name="connsiteY2" fmla="*/ 29528 h 255270"/>
                  <a:gd name="connsiteX3" fmla="*/ 0 w 317182"/>
                  <a:gd name="connsiteY3" fmla="*/ 255270 h 255270"/>
                  <a:gd name="connsiteX4" fmla="*/ 5715 w 317182"/>
                  <a:gd name="connsiteY4" fmla="*/ 200978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7182" h="255270">
                    <a:moveTo>
                      <a:pt x="5715" y="200978"/>
                    </a:moveTo>
                    <a:cubicBezTo>
                      <a:pt x="5715" y="200978"/>
                      <a:pt x="255270" y="248603"/>
                      <a:pt x="257175" y="0"/>
                    </a:cubicBezTo>
                    <a:lnTo>
                      <a:pt x="317183" y="29528"/>
                    </a:lnTo>
                    <a:cubicBezTo>
                      <a:pt x="317183" y="29528"/>
                      <a:pt x="308610" y="252413"/>
                      <a:pt x="0" y="255270"/>
                    </a:cubicBezTo>
                    <a:lnTo>
                      <a:pt x="5715" y="2009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 189">
                <a:extLst>
                  <a:ext uri="{FF2B5EF4-FFF2-40B4-BE49-F238E27FC236}">
                    <a16:creationId xmlns:a16="http://schemas.microsoft.com/office/drawing/2014/main" id="{9229FADB-D29B-0DB3-F276-1F3E7CB4E967}"/>
                  </a:ext>
                </a:extLst>
              </p:cNvPr>
              <p:cNvSpPr/>
              <p:nvPr/>
            </p:nvSpPr>
            <p:spPr>
              <a:xfrm>
                <a:off x="3741419" y="1302067"/>
                <a:ext cx="199239" cy="294322"/>
              </a:xfrm>
              <a:custGeom>
                <a:avLst/>
                <a:gdLst>
                  <a:gd name="connsiteX0" fmla="*/ 0 w 199239"/>
                  <a:gd name="connsiteY0" fmla="*/ 239078 h 294322"/>
                  <a:gd name="connsiteX1" fmla="*/ 155257 w 199239"/>
                  <a:gd name="connsiteY1" fmla="*/ 953 h 294322"/>
                  <a:gd name="connsiteX2" fmla="*/ 199072 w 199239"/>
                  <a:gd name="connsiteY2" fmla="*/ 0 h 294322"/>
                  <a:gd name="connsiteX3" fmla="*/ 952 w 199239"/>
                  <a:gd name="connsiteY3" fmla="*/ 294323 h 294322"/>
                  <a:gd name="connsiteX4" fmla="*/ 0 w 199239"/>
                  <a:gd name="connsiteY4" fmla="*/ 239078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8"/>
                    </a:moveTo>
                    <a:cubicBezTo>
                      <a:pt x="0" y="239078"/>
                      <a:pt x="175260" y="245745"/>
                      <a:pt x="155257" y="953"/>
                    </a:cubicBezTo>
                    <a:lnTo>
                      <a:pt x="199072" y="0"/>
                    </a:lnTo>
                    <a:cubicBezTo>
                      <a:pt x="199072" y="0"/>
                      <a:pt x="212408" y="240983"/>
                      <a:pt x="952" y="294323"/>
                    </a:cubicBezTo>
                    <a:lnTo>
                      <a:pt x="0" y="2390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 190">
                <a:extLst>
                  <a:ext uri="{FF2B5EF4-FFF2-40B4-BE49-F238E27FC236}">
                    <a16:creationId xmlns:a16="http://schemas.microsoft.com/office/drawing/2014/main" id="{11D83712-0150-A116-DB7E-DA13F85EFA2F}"/>
                  </a:ext>
                </a:extLst>
              </p:cNvPr>
              <p:cNvSpPr/>
              <p:nvPr/>
            </p:nvSpPr>
            <p:spPr>
              <a:xfrm>
                <a:off x="3741419" y="1663065"/>
                <a:ext cx="199239" cy="294322"/>
              </a:xfrm>
              <a:custGeom>
                <a:avLst/>
                <a:gdLst>
                  <a:gd name="connsiteX0" fmla="*/ 0 w 199239"/>
                  <a:gd name="connsiteY0" fmla="*/ 239077 h 294322"/>
                  <a:gd name="connsiteX1" fmla="*/ 155257 w 199239"/>
                  <a:gd name="connsiteY1" fmla="*/ 952 h 294322"/>
                  <a:gd name="connsiteX2" fmla="*/ 199072 w 199239"/>
                  <a:gd name="connsiteY2" fmla="*/ 0 h 294322"/>
                  <a:gd name="connsiteX3" fmla="*/ 952 w 199239"/>
                  <a:gd name="connsiteY3" fmla="*/ 294322 h 294322"/>
                  <a:gd name="connsiteX4" fmla="*/ 0 w 199239"/>
                  <a:gd name="connsiteY4" fmla="*/ 239077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7"/>
                    </a:moveTo>
                    <a:cubicBezTo>
                      <a:pt x="0" y="239077"/>
                      <a:pt x="175260" y="245745"/>
                      <a:pt x="155257" y="952"/>
                    </a:cubicBezTo>
                    <a:lnTo>
                      <a:pt x="199072" y="0"/>
                    </a:lnTo>
                    <a:cubicBezTo>
                      <a:pt x="199072" y="0"/>
                      <a:pt x="212408" y="240982"/>
                      <a:pt x="952" y="294322"/>
                    </a:cubicBezTo>
                    <a:lnTo>
                      <a:pt x="0" y="23907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 191">
                <a:extLst>
                  <a:ext uri="{FF2B5EF4-FFF2-40B4-BE49-F238E27FC236}">
                    <a16:creationId xmlns:a16="http://schemas.microsoft.com/office/drawing/2014/main" id="{D99E69D0-B8F3-69B6-3CD2-EE0473C2DAF1}"/>
                  </a:ext>
                </a:extLst>
              </p:cNvPr>
              <p:cNvSpPr/>
              <p:nvPr/>
            </p:nvSpPr>
            <p:spPr>
              <a:xfrm>
                <a:off x="3216962" y="326204"/>
                <a:ext cx="488947" cy="660283"/>
              </a:xfrm>
              <a:custGeom>
                <a:avLst/>
                <a:gdLst>
                  <a:gd name="connsiteX0" fmla="*/ 230135 w 488947"/>
                  <a:gd name="connsiteY0" fmla="*/ 659633 h 660283"/>
                  <a:gd name="connsiteX1" fmla="*/ 462545 w 488947"/>
                  <a:gd name="connsiteY1" fmla="*/ 491993 h 660283"/>
                  <a:gd name="connsiteX2" fmla="*/ 379677 w 488947"/>
                  <a:gd name="connsiteY2" fmla="*/ 37650 h 660283"/>
                  <a:gd name="connsiteX3" fmla="*/ 20585 w 488947"/>
                  <a:gd name="connsiteY3" fmla="*/ 155760 h 660283"/>
                  <a:gd name="connsiteX4" fmla="*/ 230135 w 488947"/>
                  <a:gd name="connsiteY4" fmla="*/ 659633 h 660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8947" h="660283">
                    <a:moveTo>
                      <a:pt x="230135" y="659633"/>
                    </a:moveTo>
                    <a:cubicBezTo>
                      <a:pt x="334910" y="652013"/>
                      <a:pt x="423492" y="617723"/>
                      <a:pt x="462545" y="491993"/>
                    </a:cubicBezTo>
                    <a:cubicBezTo>
                      <a:pt x="501597" y="366263"/>
                      <a:pt x="513980" y="130043"/>
                      <a:pt x="379677" y="37650"/>
                    </a:cubicBezTo>
                    <a:cubicBezTo>
                      <a:pt x="246327" y="-54742"/>
                      <a:pt x="57732" y="37650"/>
                      <a:pt x="20585" y="155760"/>
                    </a:cubicBezTo>
                    <a:cubicBezTo>
                      <a:pt x="-15610" y="273870"/>
                      <a:pt x="-33708" y="678683"/>
                      <a:pt x="230135" y="659633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 192">
                <a:extLst>
                  <a:ext uri="{FF2B5EF4-FFF2-40B4-BE49-F238E27FC236}">
                    <a16:creationId xmlns:a16="http://schemas.microsoft.com/office/drawing/2014/main" id="{D602609B-977C-4AB2-CAB6-1BFD6928C0B2}"/>
                  </a:ext>
                </a:extLst>
              </p:cNvPr>
              <p:cNvSpPr/>
              <p:nvPr/>
            </p:nvSpPr>
            <p:spPr>
              <a:xfrm>
                <a:off x="3871574" y="708915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 193">
                <a:extLst>
                  <a:ext uri="{FF2B5EF4-FFF2-40B4-BE49-F238E27FC236}">
                    <a16:creationId xmlns:a16="http://schemas.microsoft.com/office/drawing/2014/main" id="{54675573-AB2E-3D63-7C15-B0303F1B20F6}"/>
                  </a:ext>
                </a:extLst>
              </p:cNvPr>
              <p:cNvSpPr/>
              <p:nvPr/>
            </p:nvSpPr>
            <p:spPr>
              <a:xfrm>
                <a:off x="3242924" y="1171830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68641011-B90A-E089-4277-1269FB7D09E0}"/>
                </a:ext>
              </a:extLst>
            </p:cNvPr>
            <p:cNvGrpSpPr/>
            <p:nvPr/>
          </p:nvGrpSpPr>
          <p:grpSpPr>
            <a:xfrm>
              <a:off x="4118451" y="4450079"/>
              <a:ext cx="707707" cy="256222"/>
              <a:chOff x="4083366" y="2517457"/>
              <a:chExt cx="707707" cy="256222"/>
            </a:xfrm>
          </p:grpSpPr>
          <p:sp>
            <p:nvSpPr>
              <p:cNvPr id="52" name="任意多边形 196">
                <a:extLst>
                  <a:ext uri="{FF2B5EF4-FFF2-40B4-BE49-F238E27FC236}">
                    <a16:creationId xmlns:a16="http://schemas.microsoft.com/office/drawing/2014/main" id="{D5154B23-8E67-3DEE-4A42-B663068245B9}"/>
                  </a:ext>
                </a:extLst>
              </p:cNvPr>
              <p:cNvSpPr/>
              <p:nvPr/>
            </p:nvSpPr>
            <p:spPr>
              <a:xfrm>
                <a:off x="4195762" y="2517457"/>
                <a:ext cx="510540" cy="255270"/>
              </a:xfrm>
              <a:custGeom>
                <a:avLst/>
                <a:gdLst>
                  <a:gd name="connsiteX0" fmla="*/ 255270 w 510540"/>
                  <a:gd name="connsiteY0" fmla="*/ 0 h 255270"/>
                  <a:gd name="connsiteX1" fmla="*/ 0 w 510540"/>
                  <a:gd name="connsiteY1" fmla="*/ 255270 h 255270"/>
                  <a:gd name="connsiteX2" fmla="*/ 510540 w 510540"/>
                  <a:gd name="connsiteY2" fmla="*/ 255270 h 255270"/>
                  <a:gd name="connsiteX3" fmla="*/ 255270 w 510540"/>
                  <a:gd name="connsiteY3" fmla="*/ 0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0540" h="255270">
                    <a:moveTo>
                      <a:pt x="255270" y="0"/>
                    </a:moveTo>
                    <a:cubicBezTo>
                      <a:pt x="114300" y="0"/>
                      <a:pt x="0" y="114300"/>
                      <a:pt x="0" y="255270"/>
                    </a:cubicBezTo>
                    <a:lnTo>
                      <a:pt x="510540" y="255270"/>
                    </a:lnTo>
                    <a:cubicBezTo>
                      <a:pt x="510540" y="114300"/>
                      <a:pt x="396240" y="0"/>
                      <a:pt x="255270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 197">
                <a:extLst>
                  <a:ext uri="{FF2B5EF4-FFF2-40B4-BE49-F238E27FC236}">
                    <a16:creationId xmlns:a16="http://schemas.microsoft.com/office/drawing/2014/main" id="{8AD2BD82-209E-26BD-0B77-846320860A18}"/>
                  </a:ext>
                </a:extLst>
              </p:cNvPr>
              <p:cNvSpPr/>
              <p:nvPr/>
            </p:nvSpPr>
            <p:spPr>
              <a:xfrm>
                <a:off x="4083366" y="2619375"/>
                <a:ext cx="307657" cy="154305"/>
              </a:xfrm>
              <a:custGeom>
                <a:avLst/>
                <a:gdLst>
                  <a:gd name="connsiteX0" fmla="*/ 154305 w 307657"/>
                  <a:gd name="connsiteY0" fmla="*/ 0 h 154305"/>
                  <a:gd name="connsiteX1" fmla="*/ 0 w 307657"/>
                  <a:gd name="connsiteY1" fmla="*/ 154305 h 154305"/>
                  <a:gd name="connsiteX2" fmla="*/ 307658 w 307657"/>
                  <a:gd name="connsiteY2" fmla="*/ 154305 h 154305"/>
                  <a:gd name="connsiteX3" fmla="*/ 154305 w 307657"/>
                  <a:gd name="connsiteY3" fmla="*/ 0 h 154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7657" h="154305">
                    <a:moveTo>
                      <a:pt x="154305" y="0"/>
                    </a:moveTo>
                    <a:cubicBezTo>
                      <a:pt x="69533" y="0"/>
                      <a:pt x="0" y="68580"/>
                      <a:pt x="0" y="154305"/>
                    </a:cubicBezTo>
                    <a:lnTo>
                      <a:pt x="307658" y="154305"/>
                    </a:lnTo>
                    <a:cubicBezTo>
                      <a:pt x="307658" y="68580"/>
                      <a:pt x="239078" y="0"/>
                      <a:pt x="15430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 198">
                <a:extLst>
                  <a:ext uri="{FF2B5EF4-FFF2-40B4-BE49-F238E27FC236}">
                    <a16:creationId xmlns:a16="http://schemas.microsoft.com/office/drawing/2014/main" id="{18F16F46-2591-921D-7C7B-CDECA985F903}"/>
                  </a:ext>
                </a:extLst>
              </p:cNvPr>
              <p:cNvSpPr/>
              <p:nvPr/>
            </p:nvSpPr>
            <p:spPr>
              <a:xfrm>
                <a:off x="4277677" y="2664142"/>
                <a:ext cx="217169" cy="108584"/>
              </a:xfrm>
              <a:custGeom>
                <a:avLst/>
                <a:gdLst>
                  <a:gd name="connsiteX0" fmla="*/ 108585 w 217169"/>
                  <a:gd name="connsiteY0" fmla="*/ 0 h 108584"/>
                  <a:gd name="connsiteX1" fmla="*/ 0 w 217169"/>
                  <a:gd name="connsiteY1" fmla="*/ 108585 h 108584"/>
                  <a:gd name="connsiteX2" fmla="*/ 217170 w 217169"/>
                  <a:gd name="connsiteY2" fmla="*/ 108585 h 108584"/>
                  <a:gd name="connsiteX3" fmla="*/ 108585 w 217169"/>
                  <a:gd name="connsiteY3" fmla="*/ 0 h 108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7169" h="108584">
                    <a:moveTo>
                      <a:pt x="108585" y="0"/>
                    </a:moveTo>
                    <a:cubicBezTo>
                      <a:pt x="48577" y="0"/>
                      <a:pt x="0" y="48577"/>
                      <a:pt x="0" y="108585"/>
                    </a:cubicBezTo>
                    <a:lnTo>
                      <a:pt x="217170" y="108585"/>
                    </a:lnTo>
                    <a:cubicBezTo>
                      <a:pt x="217170" y="48577"/>
                      <a:pt x="168592" y="0"/>
                      <a:pt x="10858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 199">
                <a:extLst>
                  <a:ext uri="{FF2B5EF4-FFF2-40B4-BE49-F238E27FC236}">
                    <a16:creationId xmlns:a16="http://schemas.microsoft.com/office/drawing/2014/main" id="{1CA7C18D-A455-0A92-D20E-401FCB3EF342}"/>
                  </a:ext>
                </a:extLst>
              </p:cNvPr>
              <p:cNvSpPr/>
              <p:nvPr/>
            </p:nvSpPr>
            <p:spPr>
              <a:xfrm>
                <a:off x="4589144" y="2671762"/>
                <a:ext cx="201929" cy="100965"/>
              </a:xfrm>
              <a:custGeom>
                <a:avLst/>
                <a:gdLst>
                  <a:gd name="connsiteX0" fmla="*/ 100965 w 201929"/>
                  <a:gd name="connsiteY0" fmla="*/ 0 h 100965"/>
                  <a:gd name="connsiteX1" fmla="*/ 0 w 201929"/>
                  <a:gd name="connsiteY1" fmla="*/ 100965 h 100965"/>
                  <a:gd name="connsiteX2" fmla="*/ 201930 w 201929"/>
                  <a:gd name="connsiteY2" fmla="*/ 100965 h 100965"/>
                  <a:gd name="connsiteX3" fmla="*/ 100965 w 201929"/>
                  <a:gd name="connsiteY3" fmla="*/ 0 h 100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1929" h="100965">
                    <a:moveTo>
                      <a:pt x="100965" y="0"/>
                    </a:moveTo>
                    <a:cubicBezTo>
                      <a:pt x="45720" y="0"/>
                      <a:pt x="0" y="44768"/>
                      <a:pt x="0" y="100965"/>
                    </a:cubicBezTo>
                    <a:lnTo>
                      <a:pt x="201930" y="100965"/>
                    </a:lnTo>
                    <a:cubicBezTo>
                      <a:pt x="201930" y="45720"/>
                      <a:pt x="157163" y="0"/>
                      <a:pt x="100965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1B1C0826-5D5E-A128-5F40-C8E6137DBFE7}"/>
                </a:ext>
              </a:extLst>
            </p:cNvPr>
            <p:cNvGrpSpPr/>
            <p:nvPr/>
          </p:nvGrpSpPr>
          <p:grpSpPr>
            <a:xfrm>
              <a:off x="7536022" y="4531994"/>
              <a:ext cx="482917" cy="174307"/>
              <a:chOff x="7500937" y="2599372"/>
              <a:chExt cx="482917" cy="174307"/>
            </a:xfrm>
          </p:grpSpPr>
          <p:sp>
            <p:nvSpPr>
              <p:cNvPr id="48" name="任意多边形 201">
                <a:extLst>
                  <a:ext uri="{FF2B5EF4-FFF2-40B4-BE49-F238E27FC236}">
                    <a16:creationId xmlns:a16="http://schemas.microsoft.com/office/drawing/2014/main" id="{C7BD3E5C-09D4-DE5F-FB57-B6BD984036C9}"/>
                  </a:ext>
                </a:extLst>
              </p:cNvPr>
              <p:cNvSpPr/>
              <p:nvPr/>
            </p:nvSpPr>
            <p:spPr>
              <a:xfrm>
                <a:off x="7578089" y="2599372"/>
                <a:ext cx="347662" cy="174307"/>
              </a:xfrm>
              <a:custGeom>
                <a:avLst/>
                <a:gdLst>
                  <a:gd name="connsiteX0" fmla="*/ 174308 w 347662"/>
                  <a:gd name="connsiteY0" fmla="*/ 0 h 174307"/>
                  <a:gd name="connsiteX1" fmla="*/ 0 w 347662"/>
                  <a:gd name="connsiteY1" fmla="*/ 174308 h 174307"/>
                  <a:gd name="connsiteX2" fmla="*/ 347662 w 347662"/>
                  <a:gd name="connsiteY2" fmla="*/ 174308 h 174307"/>
                  <a:gd name="connsiteX3" fmla="*/ 174308 w 347662"/>
                  <a:gd name="connsiteY3" fmla="*/ 0 h 17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7662" h="174307">
                    <a:moveTo>
                      <a:pt x="174308" y="0"/>
                    </a:moveTo>
                    <a:cubicBezTo>
                      <a:pt x="78105" y="0"/>
                      <a:pt x="0" y="78105"/>
                      <a:pt x="0" y="174308"/>
                    </a:cubicBezTo>
                    <a:lnTo>
                      <a:pt x="347662" y="174308"/>
                    </a:lnTo>
                    <a:cubicBezTo>
                      <a:pt x="347662" y="77153"/>
                      <a:pt x="269558" y="0"/>
                      <a:pt x="174308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 202">
                <a:extLst>
                  <a:ext uri="{FF2B5EF4-FFF2-40B4-BE49-F238E27FC236}">
                    <a16:creationId xmlns:a16="http://schemas.microsoft.com/office/drawing/2014/main" id="{9DBED9F7-2C50-C805-A540-3BCF6AEAA3C8}"/>
                  </a:ext>
                </a:extLst>
              </p:cNvPr>
              <p:cNvSpPr/>
              <p:nvPr/>
            </p:nvSpPr>
            <p:spPr>
              <a:xfrm>
                <a:off x="7500937" y="2667952"/>
                <a:ext cx="209550" cy="104775"/>
              </a:xfrm>
              <a:custGeom>
                <a:avLst/>
                <a:gdLst>
                  <a:gd name="connsiteX0" fmla="*/ 104775 w 209550"/>
                  <a:gd name="connsiteY0" fmla="*/ 0 h 104775"/>
                  <a:gd name="connsiteX1" fmla="*/ 0 w 209550"/>
                  <a:gd name="connsiteY1" fmla="*/ 104775 h 104775"/>
                  <a:gd name="connsiteX2" fmla="*/ 209550 w 209550"/>
                  <a:gd name="connsiteY2" fmla="*/ 104775 h 104775"/>
                  <a:gd name="connsiteX3" fmla="*/ 104775 w 209550"/>
                  <a:gd name="connsiteY3" fmla="*/ 0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50" h="104775">
                    <a:moveTo>
                      <a:pt x="104775" y="0"/>
                    </a:moveTo>
                    <a:cubicBezTo>
                      <a:pt x="46672" y="0"/>
                      <a:pt x="0" y="46672"/>
                      <a:pt x="0" y="104775"/>
                    </a:cubicBezTo>
                    <a:lnTo>
                      <a:pt x="209550" y="104775"/>
                    </a:lnTo>
                    <a:cubicBezTo>
                      <a:pt x="209550" y="47625"/>
                      <a:pt x="162877" y="0"/>
                      <a:pt x="10477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 203">
                <a:extLst>
                  <a:ext uri="{FF2B5EF4-FFF2-40B4-BE49-F238E27FC236}">
                    <a16:creationId xmlns:a16="http://schemas.microsoft.com/office/drawing/2014/main" id="{2B325BF3-81FA-6DD5-779C-EA81A9AC21FF}"/>
                  </a:ext>
                </a:extLst>
              </p:cNvPr>
              <p:cNvSpPr/>
              <p:nvPr/>
            </p:nvSpPr>
            <p:spPr>
              <a:xfrm>
                <a:off x="7633334" y="2699384"/>
                <a:ext cx="147637" cy="74295"/>
              </a:xfrm>
              <a:custGeom>
                <a:avLst/>
                <a:gdLst>
                  <a:gd name="connsiteX0" fmla="*/ 74295 w 147637"/>
                  <a:gd name="connsiteY0" fmla="*/ 0 h 74295"/>
                  <a:gd name="connsiteX1" fmla="*/ 0 w 147637"/>
                  <a:gd name="connsiteY1" fmla="*/ 74295 h 74295"/>
                  <a:gd name="connsiteX2" fmla="*/ 147638 w 147637"/>
                  <a:gd name="connsiteY2" fmla="*/ 74295 h 74295"/>
                  <a:gd name="connsiteX3" fmla="*/ 74295 w 147637"/>
                  <a:gd name="connsiteY3" fmla="*/ 0 h 74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7637" h="74295">
                    <a:moveTo>
                      <a:pt x="74295" y="0"/>
                    </a:moveTo>
                    <a:cubicBezTo>
                      <a:pt x="33338" y="0"/>
                      <a:pt x="0" y="33338"/>
                      <a:pt x="0" y="74295"/>
                    </a:cubicBezTo>
                    <a:lnTo>
                      <a:pt x="147638" y="74295"/>
                    </a:lnTo>
                    <a:cubicBezTo>
                      <a:pt x="147638" y="32385"/>
                      <a:pt x="115252" y="0"/>
                      <a:pt x="7429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 204">
                <a:extLst>
                  <a:ext uri="{FF2B5EF4-FFF2-40B4-BE49-F238E27FC236}">
                    <a16:creationId xmlns:a16="http://schemas.microsoft.com/office/drawing/2014/main" id="{E0BABA65-48E6-E7A1-450A-524CECA5BAC8}"/>
                  </a:ext>
                </a:extLst>
              </p:cNvPr>
              <p:cNvSpPr/>
              <p:nvPr/>
            </p:nvSpPr>
            <p:spPr>
              <a:xfrm>
                <a:off x="7846694" y="2704147"/>
                <a:ext cx="137160" cy="68580"/>
              </a:xfrm>
              <a:custGeom>
                <a:avLst/>
                <a:gdLst>
                  <a:gd name="connsiteX0" fmla="*/ 68580 w 137160"/>
                  <a:gd name="connsiteY0" fmla="*/ 0 h 68580"/>
                  <a:gd name="connsiteX1" fmla="*/ 0 w 137160"/>
                  <a:gd name="connsiteY1" fmla="*/ 68580 h 68580"/>
                  <a:gd name="connsiteX2" fmla="*/ 137160 w 137160"/>
                  <a:gd name="connsiteY2" fmla="*/ 68580 h 68580"/>
                  <a:gd name="connsiteX3" fmla="*/ 68580 w 137160"/>
                  <a:gd name="connsiteY3" fmla="*/ 0 h 68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160" h="68580">
                    <a:moveTo>
                      <a:pt x="68580" y="0"/>
                    </a:moveTo>
                    <a:cubicBezTo>
                      <a:pt x="30480" y="0"/>
                      <a:pt x="0" y="30480"/>
                      <a:pt x="0" y="68580"/>
                    </a:cubicBezTo>
                    <a:lnTo>
                      <a:pt x="137160" y="68580"/>
                    </a:lnTo>
                    <a:cubicBezTo>
                      <a:pt x="137160" y="30480"/>
                      <a:pt x="105728" y="0"/>
                      <a:pt x="6858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7BEDED7B-3F8E-AC69-5F91-8EA761B82CC8}"/>
                </a:ext>
              </a:extLst>
            </p:cNvPr>
            <p:cNvGrpSpPr/>
            <p:nvPr/>
          </p:nvGrpSpPr>
          <p:grpSpPr>
            <a:xfrm>
              <a:off x="4761389" y="3611879"/>
              <a:ext cx="647700" cy="1093470"/>
              <a:chOff x="4726304" y="1679257"/>
              <a:chExt cx="647700" cy="1093470"/>
            </a:xfrm>
          </p:grpSpPr>
          <p:sp>
            <p:nvSpPr>
              <p:cNvPr id="44" name="任意多边形 207">
                <a:extLst>
                  <a:ext uri="{FF2B5EF4-FFF2-40B4-BE49-F238E27FC236}">
                    <a16:creationId xmlns:a16="http://schemas.microsoft.com/office/drawing/2014/main" id="{D9B5E869-10B7-2ED9-092E-CB5D30419FEC}"/>
                  </a:ext>
                </a:extLst>
              </p:cNvPr>
              <p:cNvSpPr/>
              <p:nvPr/>
            </p:nvSpPr>
            <p:spPr>
              <a:xfrm>
                <a:off x="5007291" y="2360295"/>
                <a:ext cx="85725" cy="412432"/>
              </a:xfrm>
              <a:custGeom>
                <a:avLst/>
                <a:gdLst>
                  <a:gd name="connsiteX0" fmla="*/ 0 w 85725"/>
                  <a:gd name="connsiteY0" fmla="*/ 412433 h 412432"/>
                  <a:gd name="connsiteX1" fmla="*/ 85725 w 85725"/>
                  <a:gd name="connsiteY1" fmla="*/ 412433 h 412432"/>
                  <a:gd name="connsiteX2" fmla="*/ 75248 w 85725"/>
                  <a:gd name="connsiteY2" fmla="*/ 0 h 412432"/>
                  <a:gd name="connsiteX3" fmla="*/ 15240 w 85725"/>
                  <a:gd name="connsiteY3" fmla="*/ 0 h 412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5" h="412432">
                    <a:moveTo>
                      <a:pt x="0" y="412433"/>
                    </a:moveTo>
                    <a:lnTo>
                      <a:pt x="85725" y="412433"/>
                    </a:lnTo>
                    <a:lnTo>
                      <a:pt x="75248" y="0"/>
                    </a:lnTo>
                    <a:lnTo>
                      <a:pt x="1524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 208">
                <a:extLst>
                  <a:ext uri="{FF2B5EF4-FFF2-40B4-BE49-F238E27FC236}">
                    <a16:creationId xmlns:a16="http://schemas.microsoft.com/office/drawing/2014/main" id="{7646E761-4204-F391-9DF2-B5626EA336AF}"/>
                  </a:ext>
                </a:extLst>
              </p:cNvPr>
              <p:cNvSpPr/>
              <p:nvPr/>
            </p:nvSpPr>
            <p:spPr>
              <a:xfrm>
                <a:off x="5028246" y="2368867"/>
                <a:ext cx="172031" cy="227647"/>
              </a:xfrm>
              <a:custGeom>
                <a:avLst/>
                <a:gdLst>
                  <a:gd name="connsiteX0" fmla="*/ 953 w 172031"/>
                  <a:gd name="connsiteY0" fmla="*/ 180023 h 227647"/>
                  <a:gd name="connsiteX1" fmla="*/ 125730 w 172031"/>
                  <a:gd name="connsiteY1" fmla="*/ 0 h 227647"/>
                  <a:gd name="connsiteX2" fmla="*/ 170497 w 172031"/>
                  <a:gd name="connsiteY2" fmla="*/ 7620 h 227647"/>
                  <a:gd name="connsiteX3" fmla="*/ 0 w 172031"/>
                  <a:gd name="connsiteY3" fmla="*/ 227648 h 227647"/>
                  <a:gd name="connsiteX4" fmla="*/ 953 w 172031"/>
                  <a:gd name="connsiteY4" fmla="*/ 180023 h 227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2031" h="227647">
                    <a:moveTo>
                      <a:pt x="953" y="180023"/>
                    </a:moveTo>
                    <a:cubicBezTo>
                      <a:pt x="953" y="180023"/>
                      <a:pt x="172403" y="161925"/>
                      <a:pt x="125730" y="0"/>
                    </a:cubicBezTo>
                    <a:lnTo>
                      <a:pt x="170497" y="7620"/>
                    </a:lnTo>
                    <a:cubicBezTo>
                      <a:pt x="170497" y="7620"/>
                      <a:pt x="200025" y="164783"/>
                      <a:pt x="0" y="227648"/>
                    </a:cubicBezTo>
                    <a:lnTo>
                      <a:pt x="953" y="180023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 209">
                <a:extLst>
                  <a:ext uri="{FF2B5EF4-FFF2-40B4-BE49-F238E27FC236}">
                    <a16:creationId xmlns:a16="http://schemas.microsoft.com/office/drawing/2014/main" id="{D08E45E5-B373-4CCC-461E-85D1EBFE28C0}"/>
                  </a:ext>
                </a:extLst>
              </p:cNvPr>
              <p:cNvSpPr/>
              <p:nvPr/>
            </p:nvSpPr>
            <p:spPr>
              <a:xfrm>
                <a:off x="4907258" y="2329815"/>
                <a:ext cx="142896" cy="184784"/>
              </a:xfrm>
              <a:custGeom>
                <a:avLst/>
                <a:gdLst>
                  <a:gd name="connsiteX0" fmla="*/ 36216 w 142896"/>
                  <a:gd name="connsiteY0" fmla="*/ 12382 h 184784"/>
                  <a:gd name="connsiteX1" fmla="*/ 142896 w 142896"/>
                  <a:gd name="connsiteY1" fmla="*/ 152400 h 184784"/>
                  <a:gd name="connsiteX2" fmla="*/ 125751 w 142896"/>
                  <a:gd name="connsiteY2" fmla="*/ 184785 h 184784"/>
                  <a:gd name="connsiteX3" fmla="*/ 21 w 142896"/>
                  <a:gd name="connsiteY3" fmla="*/ 0 h 184784"/>
                  <a:gd name="connsiteX4" fmla="*/ 36216 w 142896"/>
                  <a:gd name="connsiteY4" fmla="*/ 12382 h 184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896" h="184784">
                    <a:moveTo>
                      <a:pt x="36216" y="12382"/>
                    </a:moveTo>
                    <a:cubicBezTo>
                      <a:pt x="36216" y="12382"/>
                      <a:pt x="7641" y="148590"/>
                      <a:pt x="142896" y="152400"/>
                    </a:cubicBezTo>
                    <a:lnTo>
                      <a:pt x="125751" y="184785"/>
                    </a:lnTo>
                    <a:cubicBezTo>
                      <a:pt x="125751" y="184785"/>
                      <a:pt x="-1884" y="168592"/>
                      <a:pt x="21" y="0"/>
                    </a:cubicBezTo>
                    <a:lnTo>
                      <a:pt x="36216" y="12382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 210">
                <a:extLst>
                  <a:ext uri="{FF2B5EF4-FFF2-40B4-BE49-F238E27FC236}">
                    <a16:creationId xmlns:a16="http://schemas.microsoft.com/office/drawing/2014/main" id="{51855C90-C88F-7A58-6DC6-674CB5B7690C}"/>
                  </a:ext>
                </a:extLst>
              </p:cNvPr>
              <p:cNvSpPr/>
              <p:nvPr/>
            </p:nvSpPr>
            <p:spPr>
              <a:xfrm>
                <a:off x="4726304" y="1679257"/>
                <a:ext cx="647700" cy="770572"/>
              </a:xfrm>
              <a:custGeom>
                <a:avLst/>
                <a:gdLst>
                  <a:gd name="connsiteX0" fmla="*/ 647700 w 647700"/>
                  <a:gd name="connsiteY0" fmla="*/ 425767 h 770572"/>
                  <a:gd name="connsiteX1" fmla="*/ 323850 w 647700"/>
                  <a:gd name="connsiteY1" fmla="*/ 770572 h 770572"/>
                  <a:gd name="connsiteX2" fmla="*/ 0 w 647700"/>
                  <a:gd name="connsiteY2" fmla="*/ 425767 h 770572"/>
                  <a:gd name="connsiteX3" fmla="*/ 323850 w 647700"/>
                  <a:gd name="connsiteY3" fmla="*/ 0 h 770572"/>
                  <a:gd name="connsiteX4" fmla="*/ 647700 w 647700"/>
                  <a:gd name="connsiteY4" fmla="*/ 425767 h 770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7700" h="770572">
                    <a:moveTo>
                      <a:pt x="647700" y="425767"/>
                    </a:moveTo>
                    <a:cubicBezTo>
                      <a:pt x="647700" y="661035"/>
                      <a:pt x="502920" y="770572"/>
                      <a:pt x="323850" y="770572"/>
                    </a:cubicBezTo>
                    <a:cubicBezTo>
                      <a:pt x="144780" y="770572"/>
                      <a:pt x="0" y="661988"/>
                      <a:pt x="0" y="425767"/>
                    </a:cubicBezTo>
                    <a:cubicBezTo>
                      <a:pt x="0" y="190500"/>
                      <a:pt x="144780" y="0"/>
                      <a:pt x="323850" y="0"/>
                    </a:cubicBezTo>
                    <a:cubicBezTo>
                      <a:pt x="502920" y="0"/>
                      <a:pt x="647700" y="190500"/>
                      <a:pt x="647700" y="425767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08C872B6-A81B-436C-4C8D-3BA6D8478693}"/>
                </a:ext>
              </a:extLst>
            </p:cNvPr>
            <p:cNvGrpSpPr/>
            <p:nvPr/>
          </p:nvGrpSpPr>
          <p:grpSpPr>
            <a:xfrm>
              <a:off x="6647339" y="4319587"/>
              <a:ext cx="757237" cy="386715"/>
              <a:chOff x="6612254" y="2386965"/>
              <a:chExt cx="757237" cy="386715"/>
            </a:xfrm>
          </p:grpSpPr>
          <p:sp>
            <p:nvSpPr>
              <p:cNvPr id="40" name="任意多边形 213">
                <a:extLst>
                  <a:ext uri="{FF2B5EF4-FFF2-40B4-BE49-F238E27FC236}">
                    <a16:creationId xmlns:a16="http://schemas.microsoft.com/office/drawing/2014/main" id="{2C39F426-E0C4-8751-E940-E13DE8FC9F8C}"/>
                  </a:ext>
                </a:extLst>
              </p:cNvPr>
              <p:cNvSpPr/>
              <p:nvPr/>
            </p:nvSpPr>
            <p:spPr>
              <a:xfrm>
                <a:off x="6612254" y="2611754"/>
                <a:ext cx="181927" cy="160972"/>
              </a:xfrm>
              <a:custGeom>
                <a:avLst/>
                <a:gdLst>
                  <a:gd name="connsiteX0" fmla="*/ 181927 w 181927"/>
                  <a:gd name="connsiteY0" fmla="*/ 18098 h 160972"/>
                  <a:gd name="connsiteX1" fmla="*/ 178117 w 181927"/>
                  <a:gd name="connsiteY1" fmla="*/ 4763 h 160972"/>
                  <a:gd name="connsiteX2" fmla="*/ 147638 w 181927"/>
                  <a:gd name="connsiteY2" fmla="*/ 0 h 160972"/>
                  <a:gd name="connsiteX3" fmla="*/ 0 w 181927"/>
                  <a:gd name="connsiteY3" fmla="*/ 160973 h 160972"/>
                  <a:gd name="connsiteX4" fmla="*/ 87630 w 181927"/>
                  <a:gd name="connsiteY4" fmla="*/ 160973 h 160972"/>
                  <a:gd name="connsiteX5" fmla="*/ 181927 w 181927"/>
                  <a:gd name="connsiteY5" fmla="*/ 18098 h 160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1927" h="160972">
                    <a:moveTo>
                      <a:pt x="181927" y="18098"/>
                    </a:moveTo>
                    <a:cubicBezTo>
                      <a:pt x="180975" y="14288"/>
                      <a:pt x="179070" y="9525"/>
                      <a:pt x="178117" y="4763"/>
                    </a:cubicBezTo>
                    <a:cubicBezTo>
                      <a:pt x="168592" y="1905"/>
                      <a:pt x="158115" y="0"/>
                      <a:pt x="147638" y="0"/>
                    </a:cubicBezTo>
                    <a:cubicBezTo>
                      <a:pt x="79057" y="0"/>
                      <a:pt x="20002" y="67627"/>
                      <a:pt x="0" y="160973"/>
                    </a:cubicBezTo>
                    <a:lnTo>
                      <a:pt x="87630" y="160973"/>
                    </a:lnTo>
                    <a:cubicBezTo>
                      <a:pt x="112395" y="103823"/>
                      <a:pt x="144780" y="55245"/>
                      <a:pt x="181927" y="180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 214">
                <a:extLst>
                  <a:ext uri="{FF2B5EF4-FFF2-40B4-BE49-F238E27FC236}">
                    <a16:creationId xmlns:a16="http://schemas.microsoft.com/office/drawing/2014/main" id="{9DFBF52A-6B2D-A205-6294-4412F20E1D86}"/>
                  </a:ext>
                </a:extLst>
              </p:cNvPr>
              <p:cNvSpPr/>
              <p:nvPr/>
            </p:nvSpPr>
            <p:spPr>
              <a:xfrm>
                <a:off x="6781799" y="2386965"/>
                <a:ext cx="313372" cy="340994"/>
              </a:xfrm>
              <a:custGeom>
                <a:avLst/>
                <a:gdLst>
                  <a:gd name="connsiteX0" fmla="*/ 170497 w 313372"/>
                  <a:gd name="connsiteY0" fmla="*/ 262890 h 340994"/>
                  <a:gd name="connsiteX1" fmla="*/ 313372 w 313372"/>
                  <a:gd name="connsiteY1" fmla="*/ 131445 h 340994"/>
                  <a:gd name="connsiteX2" fmla="*/ 166688 w 313372"/>
                  <a:gd name="connsiteY2" fmla="*/ 0 h 340994"/>
                  <a:gd name="connsiteX3" fmla="*/ 0 w 313372"/>
                  <a:gd name="connsiteY3" fmla="*/ 250507 h 340994"/>
                  <a:gd name="connsiteX4" fmla="*/ 9525 w 313372"/>
                  <a:gd name="connsiteY4" fmla="*/ 327660 h 340994"/>
                  <a:gd name="connsiteX5" fmla="*/ 13335 w 313372"/>
                  <a:gd name="connsiteY5" fmla="*/ 340995 h 340994"/>
                  <a:gd name="connsiteX6" fmla="*/ 170497 w 313372"/>
                  <a:gd name="connsiteY6" fmla="*/ 262890 h 340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3372" h="340994">
                    <a:moveTo>
                      <a:pt x="170497" y="262890"/>
                    </a:moveTo>
                    <a:cubicBezTo>
                      <a:pt x="204788" y="195263"/>
                      <a:pt x="255270" y="147638"/>
                      <a:pt x="313372" y="131445"/>
                    </a:cubicBezTo>
                    <a:cubicBezTo>
                      <a:pt x="284797" y="53340"/>
                      <a:pt x="230505" y="0"/>
                      <a:pt x="166688" y="0"/>
                    </a:cubicBezTo>
                    <a:cubicBezTo>
                      <a:pt x="74295" y="0"/>
                      <a:pt x="0" y="112395"/>
                      <a:pt x="0" y="250507"/>
                    </a:cubicBezTo>
                    <a:cubicBezTo>
                      <a:pt x="0" y="279082"/>
                      <a:pt x="2857" y="304800"/>
                      <a:pt x="9525" y="327660"/>
                    </a:cubicBezTo>
                    <a:cubicBezTo>
                      <a:pt x="10478" y="332422"/>
                      <a:pt x="12382" y="336232"/>
                      <a:pt x="13335" y="340995"/>
                    </a:cubicBezTo>
                    <a:cubicBezTo>
                      <a:pt x="58103" y="295275"/>
                      <a:pt x="112395" y="267652"/>
                      <a:pt x="170497" y="262890"/>
                    </a:cubicBezTo>
                    <a:close/>
                  </a:path>
                </a:pathLst>
              </a:custGeom>
              <a:solidFill>
                <a:srgbClr val="3BA24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 215">
                <a:extLst>
                  <a:ext uri="{FF2B5EF4-FFF2-40B4-BE49-F238E27FC236}">
                    <a16:creationId xmlns:a16="http://schemas.microsoft.com/office/drawing/2014/main" id="{23BA41A5-9B3A-4FEE-4BE5-EB29A7282B2A}"/>
                  </a:ext>
                </a:extLst>
              </p:cNvPr>
              <p:cNvSpPr/>
              <p:nvPr/>
            </p:nvSpPr>
            <p:spPr>
              <a:xfrm>
                <a:off x="6952296" y="2413634"/>
                <a:ext cx="417195" cy="359092"/>
              </a:xfrm>
              <a:custGeom>
                <a:avLst/>
                <a:gdLst>
                  <a:gd name="connsiteX0" fmla="*/ 0 w 417195"/>
                  <a:gd name="connsiteY0" fmla="*/ 138113 h 359092"/>
                  <a:gd name="connsiteX1" fmla="*/ 18097 w 417195"/>
                  <a:gd name="connsiteY1" fmla="*/ 137160 h 359092"/>
                  <a:gd name="connsiteX2" fmla="*/ 287655 w 417195"/>
                  <a:gd name="connsiteY2" fmla="*/ 359093 h 359092"/>
                  <a:gd name="connsiteX3" fmla="*/ 417195 w 417195"/>
                  <a:gd name="connsiteY3" fmla="*/ 359093 h 359092"/>
                  <a:gd name="connsiteX4" fmla="*/ 417195 w 417195"/>
                  <a:gd name="connsiteY4" fmla="*/ 350520 h 359092"/>
                  <a:gd name="connsiteX5" fmla="*/ 184785 w 417195"/>
                  <a:gd name="connsiteY5" fmla="*/ 0 h 359092"/>
                  <a:gd name="connsiteX6" fmla="*/ 142875 w 417195"/>
                  <a:gd name="connsiteY6" fmla="*/ 5715 h 359092"/>
                  <a:gd name="connsiteX7" fmla="*/ 0 w 417195"/>
                  <a:gd name="connsiteY7" fmla="*/ 138113 h 359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195" h="359092">
                    <a:moveTo>
                      <a:pt x="0" y="138113"/>
                    </a:moveTo>
                    <a:cubicBezTo>
                      <a:pt x="5715" y="137160"/>
                      <a:pt x="11430" y="137160"/>
                      <a:pt x="18097" y="137160"/>
                    </a:cubicBezTo>
                    <a:cubicBezTo>
                      <a:pt x="131445" y="137160"/>
                      <a:pt x="230505" y="225743"/>
                      <a:pt x="287655" y="359093"/>
                    </a:cubicBezTo>
                    <a:lnTo>
                      <a:pt x="417195" y="359093"/>
                    </a:lnTo>
                    <a:cubicBezTo>
                      <a:pt x="417195" y="356235"/>
                      <a:pt x="417195" y="353378"/>
                      <a:pt x="417195" y="350520"/>
                    </a:cubicBezTo>
                    <a:cubicBezTo>
                      <a:pt x="417195" y="157163"/>
                      <a:pt x="313372" y="0"/>
                      <a:pt x="184785" y="0"/>
                    </a:cubicBezTo>
                    <a:cubicBezTo>
                      <a:pt x="170497" y="0"/>
                      <a:pt x="156210" y="1905"/>
                      <a:pt x="142875" y="5715"/>
                    </a:cubicBezTo>
                    <a:cubicBezTo>
                      <a:pt x="84772" y="22860"/>
                      <a:pt x="34290" y="70485"/>
                      <a:pt x="0" y="138113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 216">
                <a:extLst>
                  <a:ext uri="{FF2B5EF4-FFF2-40B4-BE49-F238E27FC236}">
                    <a16:creationId xmlns:a16="http://schemas.microsoft.com/office/drawing/2014/main" id="{95DB50E9-D970-8CB7-270A-96F5E64142C3}"/>
                  </a:ext>
                </a:extLst>
              </p:cNvPr>
              <p:cNvSpPr/>
              <p:nvPr/>
            </p:nvSpPr>
            <p:spPr>
              <a:xfrm>
                <a:off x="6699884" y="2550795"/>
                <a:ext cx="540067" cy="222885"/>
              </a:xfrm>
              <a:custGeom>
                <a:avLst/>
                <a:gdLst>
                  <a:gd name="connsiteX0" fmla="*/ 270510 w 540067"/>
                  <a:gd name="connsiteY0" fmla="*/ 0 h 222885"/>
                  <a:gd name="connsiteX1" fmla="*/ 252413 w 540067"/>
                  <a:gd name="connsiteY1" fmla="*/ 952 h 222885"/>
                  <a:gd name="connsiteX2" fmla="*/ 94297 w 540067"/>
                  <a:gd name="connsiteY2" fmla="*/ 79058 h 222885"/>
                  <a:gd name="connsiteX3" fmla="*/ 0 w 540067"/>
                  <a:gd name="connsiteY3" fmla="*/ 222885 h 222885"/>
                  <a:gd name="connsiteX4" fmla="*/ 540068 w 540067"/>
                  <a:gd name="connsiteY4" fmla="*/ 222885 h 222885"/>
                  <a:gd name="connsiteX5" fmla="*/ 270510 w 540067"/>
                  <a:gd name="connsiteY5" fmla="*/ 0 h 222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0067" h="222885">
                    <a:moveTo>
                      <a:pt x="270510" y="0"/>
                    </a:moveTo>
                    <a:cubicBezTo>
                      <a:pt x="264795" y="0"/>
                      <a:pt x="258128" y="0"/>
                      <a:pt x="252413" y="952"/>
                    </a:cubicBezTo>
                    <a:cubicBezTo>
                      <a:pt x="194310" y="5715"/>
                      <a:pt x="140970" y="34290"/>
                      <a:pt x="94297" y="79058"/>
                    </a:cubicBezTo>
                    <a:cubicBezTo>
                      <a:pt x="56197" y="116205"/>
                      <a:pt x="24765" y="164783"/>
                      <a:pt x="0" y="222885"/>
                    </a:cubicBezTo>
                    <a:lnTo>
                      <a:pt x="540068" y="222885"/>
                    </a:lnTo>
                    <a:cubicBezTo>
                      <a:pt x="482918" y="88583"/>
                      <a:pt x="383858" y="0"/>
                      <a:pt x="27051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B2927576-C79E-15D9-F1C1-DF194B25D333}"/>
                </a:ext>
              </a:extLst>
            </p:cNvPr>
            <p:cNvGrpSpPr/>
            <p:nvPr/>
          </p:nvGrpSpPr>
          <p:grpSpPr>
            <a:xfrm>
              <a:off x="8914289" y="4138612"/>
              <a:ext cx="578168" cy="567690"/>
              <a:chOff x="8879204" y="2205990"/>
              <a:chExt cx="578168" cy="567690"/>
            </a:xfrm>
          </p:grpSpPr>
          <p:grpSp>
            <p:nvGrpSpPr>
              <p:cNvPr id="28" name="组合 27">
                <a:extLst>
                  <a:ext uri="{FF2B5EF4-FFF2-40B4-BE49-F238E27FC236}">
                    <a16:creationId xmlns:a16="http://schemas.microsoft.com/office/drawing/2014/main" id="{BD5E33B3-093E-1B12-84D3-46FE2FF77C54}"/>
                  </a:ext>
                </a:extLst>
              </p:cNvPr>
              <p:cNvGrpSpPr/>
              <p:nvPr/>
            </p:nvGrpSpPr>
            <p:grpSpPr>
              <a:xfrm>
                <a:off x="8879204" y="2205990"/>
                <a:ext cx="342900" cy="567690"/>
                <a:chOff x="8879204" y="2205990"/>
                <a:chExt cx="342900" cy="567690"/>
              </a:xfrm>
            </p:grpSpPr>
            <p:sp>
              <p:nvSpPr>
                <p:cNvPr id="34" name="任意多边形 220">
                  <a:extLst>
                    <a:ext uri="{FF2B5EF4-FFF2-40B4-BE49-F238E27FC236}">
                      <a16:creationId xmlns:a16="http://schemas.microsoft.com/office/drawing/2014/main" id="{B9595805-7EC3-1A10-2501-2F9C3A2DB640}"/>
                    </a:ext>
                  </a:extLst>
                </p:cNvPr>
                <p:cNvSpPr/>
                <p:nvPr/>
              </p:nvSpPr>
              <p:spPr>
                <a:xfrm>
                  <a:off x="9023984" y="2238375"/>
                  <a:ext cx="60007" cy="535305"/>
                </a:xfrm>
                <a:custGeom>
                  <a:avLst/>
                  <a:gdLst>
                    <a:gd name="connsiteX0" fmla="*/ 60007 w 60007"/>
                    <a:gd name="connsiteY0" fmla="*/ 535305 h 535305"/>
                    <a:gd name="connsiteX1" fmla="*/ 0 w 60007"/>
                    <a:gd name="connsiteY1" fmla="*/ 535305 h 535305"/>
                    <a:gd name="connsiteX2" fmla="*/ 20955 w 60007"/>
                    <a:gd name="connsiteY2" fmla="*/ 0 h 535305"/>
                    <a:gd name="connsiteX3" fmla="*/ 39052 w 60007"/>
                    <a:gd name="connsiteY3" fmla="*/ 0 h 535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007" h="535305">
                      <a:moveTo>
                        <a:pt x="60007" y="535305"/>
                      </a:moveTo>
                      <a:lnTo>
                        <a:pt x="0" y="535305"/>
                      </a:lnTo>
                      <a:lnTo>
                        <a:pt x="20955" y="0"/>
                      </a:lnTo>
                      <a:lnTo>
                        <a:pt x="39052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35" name="组合 34">
                  <a:extLst>
                    <a:ext uri="{FF2B5EF4-FFF2-40B4-BE49-F238E27FC236}">
                      <a16:creationId xmlns:a16="http://schemas.microsoft.com/office/drawing/2014/main" id="{D316F56F-367E-52ED-CE06-997A1AC8AA04}"/>
                    </a:ext>
                  </a:extLst>
                </p:cNvPr>
                <p:cNvGrpSpPr/>
                <p:nvPr/>
              </p:nvGrpSpPr>
              <p:grpSpPr>
                <a:xfrm>
                  <a:off x="8879204" y="2205990"/>
                  <a:ext cx="342900" cy="567690"/>
                  <a:chOff x="8879204" y="2205990"/>
                  <a:chExt cx="342900" cy="567690"/>
                </a:xfrm>
              </p:grpSpPr>
              <p:sp>
                <p:nvSpPr>
                  <p:cNvPr id="36" name="任意多边形 222">
                    <a:extLst>
                      <a:ext uri="{FF2B5EF4-FFF2-40B4-BE49-F238E27FC236}">
                        <a16:creationId xmlns:a16="http://schemas.microsoft.com/office/drawing/2014/main" id="{7FA613C3-662C-FC6D-95F6-BDD0F5690753}"/>
                      </a:ext>
                    </a:extLst>
                  </p:cNvPr>
                  <p:cNvSpPr/>
                  <p:nvPr/>
                </p:nvSpPr>
                <p:spPr>
                  <a:xfrm>
                    <a:off x="8879204" y="2546984"/>
                    <a:ext cx="342900" cy="226695"/>
                  </a:xfrm>
                  <a:custGeom>
                    <a:avLst/>
                    <a:gdLst>
                      <a:gd name="connsiteX0" fmla="*/ 170497 w 342900"/>
                      <a:gd name="connsiteY0" fmla="*/ 0 h 226695"/>
                      <a:gd name="connsiteX1" fmla="*/ 0 w 342900"/>
                      <a:gd name="connsiteY1" fmla="*/ 226695 h 226695"/>
                      <a:gd name="connsiteX2" fmla="*/ 171450 w 342900"/>
                      <a:gd name="connsiteY2" fmla="*/ 226695 h 226695"/>
                      <a:gd name="connsiteX3" fmla="*/ 342900 w 342900"/>
                      <a:gd name="connsiteY3" fmla="*/ 226695 h 2266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42900" h="226695">
                        <a:moveTo>
                          <a:pt x="170497" y="0"/>
                        </a:moveTo>
                        <a:lnTo>
                          <a:pt x="0" y="226695"/>
                        </a:lnTo>
                        <a:lnTo>
                          <a:pt x="171450" y="226695"/>
                        </a:lnTo>
                        <a:lnTo>
                          <a:pt x="342900" y="226695"/>
                        </a:lnTo>
                        <a:close/>
                      </a:path>
                    </a:pathLst>
                  </a:custGeom>
                  <a:solidFill>
                    <a:srgbClr val="006738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7" name="任意多边形 223">
                    <a:extLst>
                      <a:ext uri="{FF2B5EF4-FFF2-40B4-BE49-F238E27FC236}">
                        <a16:creationId xmlns:a16="http://schemas.microsoft.com/office/drawing/2014/main" id="{2A2E2D1F-ABD0-8E83-23A7-B9188589FB79}"/>
                      </a:ext>
                    </a:extLst>
                  </p:cNvPr>
                  <p:cNvSpPr/>
                  <p:nvPr/>
                </p:nvSpPr>
                <p:spPr>
                  <a:xfrm>
                    <a:off x="8893492" y="2415540"/>
                    <a:ext cx="313372" cy="191452"/>
                  </a:xfrm>
                  <a:custGeom>
                    <a:avLst/>
                    <a:gdLst>
                      <a:gd name="connsiteX0" fmla="*/ 155257 w 313372"/>
                      <a:gd name="connsiteY0" fmla="*/ 0 h 191452"/>
                      <a:gd name="connsiteX1" fmla="*/ 0 w 313372"/>
                      <a:gd name="connsiteY1" fmla="*/ 191452 h 191452"/>
                      <a:gd name="connsiteX2" fmla="*/ 156210 w 313372"/>
                      <a:gd name="connsiteY2" fmla="*/ 191452 h 191452"/>
                      <a:gd name="connsiteX3" fmla="*/ 313372 w 313372"/>
                      <a:gd name="connsiteY3" fmla="*/ 191452 h 1914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13372" h="191452">
                        <a:moveTo>
                          <a:pt x="155257" y="0"/>
                        </a:moveTo>
                        <a:lnTo>
                          <a:pt x="0" y="191452"/>
                        </a:lnTo>
                        <a:lnTo>
                          <a:pt x="156210" y="191452"/>
                        </a:lnTo>
                        <a:lnTo>
                          <a:pt x="313372" y="191452"/>
                        </a:lnTo>
                        <a:close/>
                      </a:path>
                    </a:pathLst>
                  </a:custGeom>
                  <a:solidFill>
                    <a:srgbClr val="029344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8" name="任意多边形 224">
                    <a:extLst>
                      <a:ext uri="{FF2B5EF4-FFF2-40B4-BE49-F238E27FC236}">
                        <a16:creationId xmlns:a16="http://schemas.microsoft.com/office/drawing/2014/main" id="{86E5CAD6-D7EC-602E-A5AD-C7BB14D710F3}"/>
                      </a:ext>
                    </a:extLst>
                  </p:cNvPr>
                  <p:cNvSpPr/>
                  <p:nvPr/>
                </p:nvSpPr>
                <p:spPr>
                  <a:xfrm>
                    <a:off x="8904922" y="2303145"/>
                    <a:ext cx="288607" cy="163829"/>
                  </a:xfrm>
                  <a:custGeom>
                    <a:avLst/>
                    <a:gdLst>
                      <a:gd name="connsiteX0" fmla="*/ 143827 w 288607"/>
                      <a:gd name="connsiteY0" fmla="*/ 0 h 163829"/>
                      <a:gd name="connsiteX1" fmla="*/ 0 w 288607"/>
                      <a:gd name="connsiteY1" fmla="*/ 163830 h 163829"/>
                      <a:gd name="connsiteX2" fmla="*/ 144780 w 288607"/>
                      <a:gd name="connsiteY2" fmla="*/ 163830 h 163829"/>
                      <a:gd name="connsiteX3" fmla="*/ 288607 w 288607"/>
                      <a:gd name="connsiteY3" fmla="*/ 163830 h 1638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88607" h="163829">
                        <a:moveTo>
                          <a:pt x="143827" y="0"/>
                        </a:moveTo>
                        <a:lnTo>
                          <a:pt x="0" y="163830"/>
                        </a:lnTo>
                        <a:lnTo>
                          <a:pt x="144780" y="163830"/>
                        </a:lnTo>
                        <a:lnTo>
                          <a:pt x="288607" y="163830"/>
                        </a:lnTo>
                        <a:close/>
                      </a:path>
                    </a:pathLst>
                  </a:custGeom>
                  <a:solidFill>
                    <a:srgbClr val="6EB13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9" name="任意多边形 225">
                    <a:extLst>
                      <a:ext uri="{FF2B5EF4-FFF2-40B4-BE49-F238E27FC236}">
                        <a16:creationId xmlns:a16="http://schemas.microsoft.com/office/drawing/2014/main" id="{929E4F0E-6329-6865-1286-E411D3F6B75F}"/>
                      </a:ext>
                    </a:extLst>
                  </p:cNvPr>
                  <p:cNvSpPr/>
                  <p:nvPr/>
                </p:nvSpPr>
                <p:spPr>
                  <a:xfrm>
                    <a:off x="8915399" y="2205990"/>
                    <a:ext cx="266700" cy="140969"/>
                  </a:xfrm>
                  <a:custGeom>
                    <a:avLst/>
                    <a:gdLst>
                      <a:gd name="connsiteX0" fmla="*/ 132398 w 266700"/>
                      <a:gd name="connsiteY0" fmla="*/ 0 h 140969"/>
                      <a:gd name="connsiteX1" fmla="*/ 0 w 266700"/>
                      <a:gd name="connsiteY1" fmla="*/ 140970 h 140969"/>
                      <a:gd name="connsiteX2" fmla="*/ 133350 w 266700"/>
                      <a:gd name="connsiteY2" fmla="*/ 140970 h 140969"/>
                      <a:gd name="connsiteX3" fmla="*/ 266700 w 266700"/>
                      <a:gd name="connsiteY3" fmla="*/ 140970 h 1409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66700" h="140969">
                        <a:moveTo>
                          <a:pt x="132398" y="0"/>
                        </a:moveTo>
                        <a:lnTo>
                          <a:pt x="0" y="140970"/>
                        </a:lnTo>
                        <a:lnTo>
                          <a:pt x="133350" y="140970"/>
                        </a:lnTo>
                        <a:lnTo>
                          <a:pt x="266700" y="140970"/>
                        </a:lnTo>
                        <a:close/>
                      </a:path>
                    </a:pathLst>
                  </a:custGeom>
                  <a:solidFill>
                    <a:srgbClr val="92C33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29" name="组合 28">
                <a:extLst>
                  <a:ext uri="{FF2B5EF4-FFF2-40B4-BE49-F238E27FC236}">
                    <a16:creationId xmlns:a16="http://schemas.microsoft.com/office/drawing/2014/main" id="{8384E95C-64F4-B6CB-8E10-A984E5FFE330}"/>
                  </a:ext>
                </a:extLst>
              </p:cNvPr>
              <p:cNvGrpSpPr/>
              <p:nvPr/>
            </p:nvGrpSpPr>
            <p:grpSpPr>
              <a:xfrm>
                <a:off x="9019222" y="2615565"/>
                <a:ext cx="438150" cy="158115"/>
                <a:chOff x="9019222" y="2615565"/>
                <a:chExt cx="438150" cy="158115"/>
              </a:xfrm>
            </p:grpSpPr>
            <p:sp>
              <p:nvSpPr>
                <p:cNvPr id="30" name="任意多边形 228">
                  <a:extLst>
                    <a:ext uri="{FF2B5EF4-FFF2-40B4-BE49-F238E27FC236}">
                      <a16:creationId xmlns:a16="http://schemas.microsoft.com/office/drawing/2014/main" id="{9C65B786-81B0-C01D-17CF-133EA2D82661}"/>
                    </a:ext>
                  </a:extLst>
                </p:cNvPr>
                <p:cNvSpPr/>
                <p:nvPr/>
              </p:nvSpPr>
              <p:spPr>
                <a:xfrm>
                  <a:off x="9088754" y="2615565"/>
                  <a:ext cx="317182" cy="158115"/>
                </a:xfrm>
                <a:custGeom>
                  <a:avLst/>
                  <a:gdLst>
                    <a:gd name="connsiteX0" fmla="*/ 158115 w 317182"/>
                    <a:gd name="connsiteY0" fmla="*/ 0 h 158115"/>
                    <a:gd name="connsiteX1" fmla="*/ 0 w 317182"/>
                    <a:gd name="connsiteY1" fmla="*/ 158115 h 158115"/>
                    <a:gd name="connsiteX2" fmla="*/ 317182 w 317182"/>
                    <a:gd name="connsiteY2" fmla="*/ 158115 h 158115"/>
                    <a:gd name="connsiteX3" fmla="*/ 158115 w 317182"/>
                    <a:gd name="connsiteY3" fmla="*/ 0 h 1581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7182" h="158115">
                      <a:moveTo>
                        <a:pt x="158115" y="0"/>
                      </a:moveTo>
                      <a:cubicBezTo>
                        <a:pt x="70485" y="0"/>
                        <a:pt x="0" y="70485"/>
                        <a:pt x="0" y="158115"/>
                      </a:cubicBezTo>
                      <a:lnTo>
                        <a:pt x="317182" y="158115"/>
                      </a:lnTo>
                      <a:cubicBezTo>
                        <a:pt x="317182" y="70485"/>
                        <a:pt x="245745" y="0"/>
                        <a:pt x="158115" y="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1" name="任意多边形 229">
                  <a:extLst>
                    <a:ext uri="{FF2B5EF4-FFF2-40B4-BE49-F238E27FC236}">
                      <a16:creationId xmlns:a16="http://schemas.microsoft.com/office/drawing/2014/main" id="{D45EE1E4-C6BC-1911-8BBE-38831CDF6367}"/>
                    </a:ext>
                  </a:extLst>
                </p:cNvPr>
                <p:cNvSpPr/>
                <p:nvPr/>
              </p:nvSpPr>
              <p:spPr>
                <a:xfrm>
                  <a:off x="9019222" y="2677477"/>
                  <a:ext cx="190500" cy="95250"/>
                </a:xfrm>
                <a:custGeom>
                  <a:avLst/>
                  <a:gdLst>
                    <a:gd name="connsiteX0" fmla="*/ 95250 w 190500"/>
                    <a:gd name="connsiteY0" fmla="*/ 0 h 95250"/>
                    <a:gd name="connsiteX1" fmla="*/ 0 w 190500"/>
                    <a:gd name="connsiteY1" fmla="*/ 95250 h 95250"/>
                    <a:gd name="connsiteX2" fmla="*/ 190500 w 190500"/>
                    <a:gd name="connsiteY2" fmla="*/ 95250 h 95250"/>
                    <a:gd name="connsiteX3" fmla="*/ 95250 w 190500"/>
                    <a:gd name="connsiteY3" fmla="*/ 0 h 95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0500" h="95250">
                      <a:moveTo>
                        <a:pt x="95250" y="0"/>
                      </a:moveTo>
                      <a:cubicBezTo>
                        <a:pt x="42863" y="0"/>
                        <a:pt x="0" y="42863"/>
                        <a:pt x="0" y="95250"/>
                      </a:cubicBezTo>
                      <a:lnTo>
                        <a:pt x="190500" y="95250"/>
                      </a:lnTo>
                      <a:cubicBezTo>
                        <a:pt x="190500" y="42863"/>
                        <a:pt x="148590" y="0"/>
                        <a:pt x="95250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2" name="任意多边形 230">
                  <a:extLst>
                    <a:ext uri="{FF2B5EF4-FFF2-40B4-BE49-F238E27FC236}">
                      <a16:creationId xmlns:a16="http://schemas.microsoft.com/office/drawing/2014/main" id="{6C500A81-6349-3F37-785F-9F046C9DDEF7}"/>
                    </a:ext>
                  </a:extLst>
                </p:cNvPr>
                <p:cNvSpPr/>
                <p:nvPr/>
              </p:nvSpPr>
              <p:spPr>
                <a:xfrm>
                  <a:off x="9139237" y="2706052"/>
                  <a:ext cx="134324" cy="67627"/>
                </a:xfrm>
                <a:custGeom>
                  <a:avLst/>
                  <a:gdLst>
                    <a:gd name="connsiteX0" fmla="*/ 67627 w 134324"/>
                    <a:gd name="connsiteY0" fmla="*/ 0 h 67627"/>
                    <a:gd name="connsiteX1" fmla="*/ 0 w 134324"/>
                    <a:gd name="connsiteY1" fmla="*/ 67628 h 67627"/>
                    <a:gd name="connsiteX2" fmla="*/ 134302 w 134324"/>
                    <a:gd name="connsiteY2" fmla="*/ 67628 h 67627"/>
                    <a:gd name="connsiteX3" fmla="*/ 67627 w 134324"/>
                    <a:gd name="connsiteY3" fmla="*/ 0 h 67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4324" h="67627">
                      <a:moveTo>
                        <a:pt x="67627" y="0"/>
                      </a:moveTo>
                      <a:cubicBezTo>
                        <a:pt x="30480" y="0"/>
                        <a:pt x="0" y="30480"/>
                        <a:pt x="0" y="67628"/>
                      </a:cubicBezTo>
                      <a:lnTo>
                        <a:pt x="134302" y="67628"/>
                      </a:lnTo>
                      <a:cubicBezTo>
                        <a:pt x="135255" y="30480"/>
                        <a:pt x="104775" y="0"/>
                        <a:pt x="67627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3" name="任意多边形 231">
                  <a:extLst>
                    <a:ext uri="{FF2B5EF4-FFF2-40B4-BE49-F238E27FC236}">
                      <a16:creationId xmlns:a16="http://schemas.microsoft.com/office/drawing/2014/main" id="{36E87A51-9594-9719-AE73-F8D687BA5AB3}"/>
                    </a:ext>
                  </a:extLst>
                </p:cNvPr>
                <p:cNvSpPr/>
                <p:nvPr/>
              </p:nvSpPr>
              <p:spPr>
                <a:xfrm>
                  <a:off x="9332594" y="2710815"/>
                  <a:ext cx="124777" cy="62865"/>
                </a:xfrm>
                <a:custGeom>
                  <a:avLst/>
                  <a:gdLst>
                    <a:gd name="connsiteX0" fmla="*/ 62865 w 124777"/>
                    <a:gd name="connsiteY0" fmla="*/ 0 h 62865"/>
                    <a:gd name="connsiteX1" fmla="*/ 0 w 124777"/>
                    <a:gd name="connsiteY1" fmla="*/ 62865 h 62865"/>
                    <a:gd name="connsiteX2" fmla="*/ 124778 w 124777"/>
                    <a:gd name="connsiteY2" fmla="*/ 62865 h 62865"/>
                    <a:gd name="connsiteX3" fmla="*/ 62865 w 124777"/>
                    <a:gd name="connsiteY3" fmla="*/ 0 h 62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4777" h="62865">
                      <a:moveTo>
                        <a:pt x="62865" y="0"/>
                      </a:moveTo>
                      <a:cubicBezTo>
                        <a:pt x="28575" y="0"/>
                        <a:pt x="0" y="27622"/>
                        <a:pt x="0" y="62865"/>
                      </a:cubicBezTo>
                      <a:lnTo>
                        <a:pt x="124778" y="62865"/>
                      </a:lnTo>
                      <a:cubicBezTo>
                        <a:pt x="124778" y="27622"/>
                        <a:pt x="97155" y="0"/>
                        <a:pt x="62865" y="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E5E2B812-7619-37AF-79D1-7285E1376834}"/>
                </a:ext>
              </a:extLst>
            </p:cNvPr>
            <p:cNvGrpSpPr/>
            <p:nvPr/>
          </p:nvGrpSpPr>
          <p:grpSpPr>
            <a:xfrm>
              <a:off x="2772569" y="4065269"/>
              <a:ext cx="704850" cy="641032"/>
              <a:chOff x="2737484" y="2132647"/>
              <a:chExt cx="704850" cy="641032"/>
            </a:xfrm>
          </p:grpSpPr>
          <p:sp>
            <p:nvSpPr>
              <p:cNvPr id="15" name="任意多边形 233">
                <a:extLst>
                  <a:ext uri="{FF2B5EF4-FFF2-40B4-BE49-F238E27FC236}">
                    <a16:creationId xmlns:a16="http://schemas.microsoft.com/office/drawing/2014/main" id="{2AEFBDD8-2A22-80AD-DACF-47ACC4AF8329}"/>
                  </a:ext>
                </a:extLst>
              </p:cNvPr>
              <p:cNvSpPr/>
              <p:nvPr/>
            </p:nvSpPr>
            <p:spPr>
              <a:xfrm>
                <a:off x="2987992" y="2646045"/>
                <a:ext cx="340058" cy="127635"/>
              </a:xfrm>
              <a:custGeom>
                <a:avLst/>
                <a:gdLst>
                  <a:gd name="connsiteX0" fmla="*/ 250508 w 340058"/>
                  <a:gd name="connsiteY0" fmla="*/ 37148 h 127635"/>
                  <a:gd name="connsiteX1" fmla="*/ 221933 w 340058"/>
                  <a:gd name="connsiteY1" fmla="*/ 41910 h 127635"/>
                  <a:gd name="connsiteX2" fmla="*/ 127635 w 340058"/>
                  <a:gd name="connsiteY2" fmla="*/ 0 h 127635"/>
                  <a:gd name="connsiteX3" fmla="*/ 0 w 340058"/>
                  <a:gd name="connsiteY3" fmla="*/ 127635 h 127635"/>
                  <a:gd name="connsiteX4" fmla="*/ 160020 w 340058"/>
                  <a:gd name="connsiteY4" fmla="*/ 127635 h 127635"/>
                  <a:gd name="connsiteX5" fmla="*/ 254318 w 340058"/>
                  <a:gd name="connsiteY5" fmla="*/ 127635 h 127635"/>
                  <a:gd name="connsiteX6" fmla="*/ 340043 w 340058"/>
                  <a:gd name="connsiteY6" fmla="*/ 127635 h 127635"/>
                  <a:gd name="connsiteX7" fmla="*/ 250508 w 340058"/>
                  <a:gd name="connsiteY7" fmla="*/ 37148 h 127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0058" h="127635">
                    <a:moveTo>
                      <a:pt x="250508" y="37148"/>
                    </a:moveTo>
                    <a:cubicBezTo>
                      <a:pt x="240030" y="37148"/>
                      <a:pt x="230505" y="39052"/>
                      <a:pt x="221933" y="41910"/>
                    </a:cubicBezTo>
                    <a:cubicBezTo>
                      <a:pt x="198120" y="16192"/>
                      <a:pt x="164783" y="0"/>
                      <a:pt x="127635" y="0"/>
                    </a:cubicBezTo>
                    <a:cubicBezTo>
                      <a:pt x="57150" y="0"/>
                      <a:pt x="0" y="57150"/>
                      <a:pt x="0" y="127635"/>
                    </a:cubicBezTo>
                    <a:lnTo>
                      <a:pt x="160020" y="127635"/>
                    </a:lnTo>
                    <a:lnTo>
                      <a:pt x="254318" y="127635"/>
                    </a:lnTo>
                    <a:lnTo>
                      <a:pt x="340043" y="127635"/>
                    </a:lnTo>
                    <a:cubicBezTo>
                      <a:pt x="340995" y="77152"/>
                      <a:pt x="300038" y="37148"/>
                      <a:pt x="250508" y="37148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6" name="组合 15">
                <a:extLst>
                  <a:ext uri="{FF2B5EF4-FFF2-40B4-BE49-F238E27FC236}">
                    <a16:creationId xmlns:a16="http://schemas.microsoft.com/office/drawing/2014/main" id="{1BF61F80-8A36-21B3-E643-C2004BBBABC8}"/>
                  </a:ext>
                </a:extLst>
              </p:cNvPr>
              <p:cNvGrpSpPr/>
              <p:nvPr/>
            </p:nvGrpSpPr>
            <p:grpSpPr>
              <a:xfrm>
                <a:off x="2737484" y="2132647"/>
                <a:ext cx="704850" cy="640080"/>
                <a:chOff x="2737484" y="2132647"/>
                <a:chExt cx="704850" cy="640080"/>
              </a:xfrm>
            </p:grpSpPr>
            <p:sp>
              <p:nvSpPr>
                <p:cNvPr id="18" name="任意多边形 235">
                  <a:extLst>
                    <a:ext uri="{FF2B5EF4-FFF2-40B4-BE49-F238E27FC236}">
                      <a16:creationId xmlns:a16="http://schemas.microsoft.com/office/drawing/2014/main" id="{0DC3BED3-1C96-CD1A-2101-8802DD24526A}"/>
                    </a:ext>
                  </a:extLst>
                </p:cNvPr>
                <p:cNvSpPr/>
                <p:nvPr/>
              </p:nvSpPr>
              <p:spPr>
                <a:xfrm>
                  <a:off x="3063239" y="2425065"/>
                  <a:ext cx="49530" cy="347662"/>
                </a:xfrm>
                <a:custGeom>
                  <a:avLst/>
                  <a:gdLst>
                    <a:gd name="connsiteX0" fmla="*/ 0 w 49530"/>
                    <a:gd name="connsiteY0" fmla="*/ 347663 h 347662"/>
                    <a:gd name="connsiteX1" fmla="*/ 49530 w 49530"/>
                    <a:gd name="connsiteY1" fmla="*/ 347663 h 347662"/>
                    <a:gd name="connsiteX2" fmla="*/ 43815 w 49530"/>
                    <a:gd name="connsiteY2" fmla="*/ 0 h 347662"/>
                    <a:gd name="connsiteX3" fmla="*/ 8573 w 49530"/>
                    <a:gd name="connsiteY3" fmla="*/ 0 h 347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9530" h="347662">
                      <a:moveTo>
                        <a:pt x="0" y="347663"/>
                      </a:moveTo>
                      <a:lnTo>
                        <a:pt x="49530" y="347663"/>
                      </a:lnTo>
                      <a:lnTo>
                        <a:pt x="43815" y="0"/>
                      </a:lnTo>
                      <a:lnTo>
                        <a:pt x="8573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" name="任意多边形 236">
                  <a:extLst>
                    <a:ext uri="{FF2B5EF4-FFF2-40B4-BE49-F238E27FC236}">
                      <a16:creationId xmlns:a16="http://schemas.microsoft.com/office/drawing/2014/main" id="{8628C098-A99E-FAA5-9416-2B51A945DC60}"/>
                    </a:ext>
                  </a:extLst>
                </p:cNvPr>
                <p:cNvSpPr/>
                <p:nvPr/>
              </p:nvSpPr>
              <p:spPr>
                <a:xfrm>
                  <a:off x="3097529" y="2373629"/>
                  <a:ext cx="150866" cy="200025"/>
                </a:xfrm>
                <a:custGeom>
                  <a:avLst/>
                  <a:gdLst>
                    <a:gd name="connsiteX0" fmla="*/ 952 w 150866"/>
                    <a:gd name="connsiteY0" fmla="*/ 158115 h 200025"/>
                    <a:gd name="connsiteX1" fmla="*/ 110490 w 150866"/>
                    <a:gd name="connsiteY1" fmla="*/ 0 h 200025"/>
                    <a:gd name="connsiteX2" fmla="*/ 149543 w 150866"/>
                    <a:gd name="connsiteY2" fmla="*/ 6667 h 200025"/>
                    <a:gd name="connsiteX3" fmla="*/ 0 w 150866"/>
                    <a:gd name="connsiteY3" fmla="*/ 200025 h 200025"/>
                    <a:gd name="connsiteX4" fmla="*/ 952 w 150866"/>
                    <a:gd name="connsiteY4" fmla="*/ 158115 h 200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66" h="200025">
                      <a:moveTo>
                        <a:pt x="952" y="158115"/>
                      </a:moveTo>
                      <a:cubicBezTo>
                        <a:pt x="952" y="158115"/>
                        <a:pt x="152400" y="141923"/>
                        <a:pt x="110490" y="0"/>
                      </a:cubicBezTo>
                      <a:lnTo>
                        <a:pt x="149543" y="6667"/>
                      </a:lnTo>
                      <a:cubicBezTo>
                        <a:pt x="149543" y="6667"/>
                        <a:pt x="175260" y="144780"/>
                        <a:pt x="0" y="200025"/>
                      </a:cubicBezTo>
                      <a:lnTo>
                        <a:pt x="952" y="158115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" name="任意多边形 237">
                  <a:extLst>
                    <a:ext uri="{FF2B5EF4-FFF2-40B4-BE49-F238E27FC236}">
                      <a16:creationId xmlns:a16="http://schemas.microsoft.com/office/drawing/2014/main" id="{90972145-609A-815A-448C-CB077C21E62F}"/>
                    </a:ext>
                  </a:extLst>
                </p:cNvPr>
                <p:cNvSpPr/>
                <p:nvPr/>
              </p:nvSpPr>
              <p:spPr>
                <a:xfrm>
                  <a:off x="2968935" y="2326957"/>
                  <a:ext cx="120973" cy="156209"/>
                </a:xfrm>
                <a:custGeom>
                  <a:avLst/>
                  <a:gdLst>
                    <a:gd name="connsiteX0" fmla="*/ 30486 w 120973"/>
                    <a:gd name="connsiteY0" fmla="*/ 10477 h 156209"/>
                    <a:gd name="connsiteX1" fmla="*/ 120974 w 120973"/>
                    <a:gd name="connsiteY1" fmla="*/ 128588 h 156209"/>
                    <a:gd name="connsiteX2" fmla="*/ 106686 w 120973"/>
                    <a:gd name="connsiteY2" fmla="*/ 156210 h 156209"/>
                    <a:gd name="connsiteX3" fmla="*/ 6 w 120973"/>
                    <a:gd name="connsiteY3" fmla="*/ 0 h 156209"/>
                    <a:gd name="connsiteX4" fmla="*/ 30486 w 120973"/>
                    <a:gd name="connsiteY4" fmla="*/ 10477 h 156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0973" h="156209">
                      <a:moveTo>
                        <a:pt x="30486" y="10477"/>
                      </a:moveTo>
                      <a:cubicBezTo>
                        <a:pt x="30486" y="10477"/>
                        <a:pt x="5721" y="125730"/>
                        <a:pt x="120974" y="128588"/>
                      </a:cubicBezTo>
                      <a:lnTo>
                        <a:pt x="106686" y="156210"/>
                      </a:lnTo>
                      <a:cubicBezTo>
                        <a:pt x="106686" y="156210"/>
                        <a:pt x="-946" y="141922"/>
                        <a:pt x="6" y="0"/>
                      </a:cubicBezTo>
                      <a:lnTo>
                        <a:pt x="30486" y="10477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" name="任意多边形 238">
                  <a:extLst>
                    <a:ext uri="{FF2B5EF4-FFF2-40B4-BE49-F238E27FC236}">
                      <a16:creationId xmlns:a16="http://schemas.microsoft.com/office/drawing/2014/main" id="{2B458856-4A06-4886-E661-89A3261FBE3E}"/>
                    </a:ext>
                  </a:extLst>
                </p:cNvPr>
                <p:cNvSpPr/>
                <p:nvPr/>
              </p:nvSpPr>
              <p:spPr>
                <a:xfrm>
                  <a:off x="2832734" y="2346959"/>
                  <a:ext cx="167640" cy="97818"/>
                </a:xfrm>
                <a:custGeom>
                  <a:avLst/>
                  <a:gdLst>
                    <a:gd name="connsiteX0" fmla="*/ 32385 w 167640"/>
                    <a:gd name="connsiteY0" fmla="*/ 0 h 97818"/>
                    <a:gd name="connsiteX1" fmla="*/ 167640 w 167640"/>
                    <a:gd name="connsiteY1" fmla="*/ 61913 h 97818"/>
                    <a:gd name="connsiteX2" fmla="*/ 167640 w 167640"/>
                    <a:gd name="connsiteY2" fmla="*/ 92393 h 97818"/>
                    <a:gd name="connsiteX3" fmla="*/ 0 w 167640"/>
                    <a:gd name="connsiteY3" fmla="*/ 4763 h 97818"/>
                    <a:gd name="connsiteX4" fmla="*/ 32385 w 167640"/>
                    <a:gd name="connsiteY4" fmla="*/ 0 h 97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97818">
                      <a:moveTo>
                        <a:pt x="32385" y="0"/>
                      </a:moveTo>
                      <a:cubicBezTo>
                        <a:pt x="32385" y="0"/>
                        <a:pt x="64770" y="112395"/>
                        <a:pt x="167640" y="61913"/>
                      </a:cubicBezTo>
                      <a:lnTo>
                        <a:pt x="167640" y="92393"/>
                      </a:lnTo>
                      <a:cubicBezTo>
                        <a:pt x="167640" y="92393"/>
                        <a:pt x="65723" y="130493"/>
                        <a:pt x="0" y="4763"/>
                      </a:cubicBezTo>
                      <a:lnTo>
                        <a:pt x="32385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" name="任意多边形 239">
                  <a:extLst>
                    <a:ext uri="{FF2B5EF4-FFF2-40B4-BE49-F238E27FC236}">
                      <a16:creationId xmlns:a16="http://schemas.microsoft.com/office/drawing/2014/main" id="{EFA5414F-3A8D-D51A-5A7C-C091C479DFC4}"/>
                    </a:ext>
                  </a:extLst>
                </p:cNvPr>
                <p:cNvSpPr/>
                <p:nvPr/>
              </p:nvSpPr>
              <p:spPr>
                <a:xfrm>
                  <a:off x="3191826" y="2437447"/>
                  <a:ext cx="179070" cy="91847"/>
                </a:xfrm>
                <a:custGeom>
                  <a:avLst/>
                  <a:gdLst>
                    <a:gd name="connsiteX0" fmla="*/ 18098 w 179070"/>
                    <a:gd name="connsiteY0" fmla="*/ 56198 h 91847"/>
                    <a:gd name="connsiteX1" fmla="*/ 156210 w 179070"/>
                    <a:gd name="connsiteY1" fmla="*/ 0 h 91847"/>
                    <a:gd name="connsiteX2" fmla="*/ 179070 w 179070"/>
                    <a:gd name="connsiteY2" fmla="*/ 20955 h 91847"/>
                    <a:gd name="connsiteX3" fmla="*/ 0 w 179070"/>
                    <a:gd name="connsiteY3" fmla="*/ 82868 h 91847"/>
                    <a:gd name="connsiteX4" fmla="*/ 18098 w 179070"/>
                    <a:gd name="connsiteY4" fmla="*/ 56198 h 91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9070" h="91847">
                      <a:moveTo>
                        <a:pt x="18098" y="56198"/>
                      </a:moveTo>
                      <a:cubicBezTo>
                        <a:pt x="18098" y="56198"/>
                        <a:pt x="122873" y="109538"/>
                        <a:pt x="156210" y="0"/>
                      </a:cubicBezTo>
                      <a:lnTo>
                        <a:pt x="179070" y="20955"/>
                      </a:lnTo>
                      <a:cubicBezTo>
                        <a:pt x="179070" y="20955"/>
                        <a:pt x="137160" y="121920"/>
                        <a:pt x="0" y="82868"/>
                      </a:cubicBezTo>
                      <a:lnTo>
                        <a:pt x="18098" y="56198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" name="任意多边形 240">
                  <a:extLst>
                    <a:ext uri="{FF2B5EF4-FFF2-40B4-BE49-F238E27FC236}">
                      <a16:creationId xmlns:a16="http://schemas.microsoft.com/office/drawing/2014/main" id="{B8A32BF2-7D7D-0E09-705A-80A1C70C85B4}"/>
                    </a:ext>
                  </a:extLst>
                </p:cNvPr>
                <p:cNvSpPr/>
                <p:nvPr/>
              </p:nvSpPr>
              <p:spPr>
                <a:xfrm>
                  <a:off x="2895599" y="2154554"/>
                  <a:ext cx="180975" cy="215265"/>
                </a:xfrm>
                <a:custGeom>
                  <a:avLst/>
                  <a:gdLst>
                    <a:gd name="connsiteX0" fmla="*/ 180975 w 180975"/>
                    <a:gd name="connsiteY0" fmla="*/ 119063 h 215265"/>
                    <a:gd name="connsiteX1" fmla="*/ 90488 w 180975"/>
                    <a:gd name="connsiteY1" fmla="*/ 215265 h 215265"/>
                    <a:gd name="connsiteX2" fmla="*/ 0 w 180975"/>
                    <a:gd name="connsiteY2" fmla="*/ 119063 h 215265"/>
                    <a:gd name="connsiteX3" fmla="*/ 90488 w 180975"/>
                    <a:gd name="connsiteY3" fmla="*/ 0 h 215265"/>
                    <a:gd name="connsiteX4" fmla="*/ 180975 w 180975"/>
                    <a:gd name="connsiteY4" fmla="*/ 119063 h 215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975" h="215265">
                      <a:moveTo>
                        <a:pt x="180975" y="119063"/>
                      </a:moveTo>
                      <a:cubicBezTo>
                        <a:pt x="180975" y="184785"/>
                        <a:pt x="140970" y="215265"/>
                        <a:pt x="90488" y="215265"/>
                      </a:cubicBezTo>
                      <a:cubicBezTo>
                        <a:pt x="40957" y="215265"/>
                        <a:pt x="0" y="184785"/>
                        <a:pt x="0" y="119063"/>
                      </a:cubicBezTo>
                      <a:cubicBezTo>
                        <a:pt x="0" y="53340"/>
                        <a:pt x="40005" y="0"/>
                        <a:pt x="90488" y="0"/>
                      </a:cubicBezTo>
                      <a:cubicBezTo>
                        <a:pt x="140018" y="0"/>
                        <a:pt x="180975" y="53340"/>
                        <a:pt x="180975" y="11906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" name="任意多边形 241">
                  <a:extLst>
                    <a:ext uri="{FF2B5EF4-FFF2-40B4-BE49-F238E27FC236}">
                      <a16:creationId xmlns:a16="http://schemas.microsoft.com/office/drawing/2014/main" id="{C231C7FB-A016-0C6A-7A05-8E3BD507B5FB}"/>
                    </a:ext>
                  </a:extLst>
                </p:cNvPr>
                <p:cNvSpPr/>
                <p:nvPr/>
              </p:nvSpPr>
              <p:spPr>
                <a:xfrm>
                  <a:off x="2737484" y="2132647"/>
                  <a:ext cx="217170" cy="259080"/>
                </a:xfrm>
                <a:custGeom>
                  <a:avLst/>
                  <a:gdLst>
                    <a:gd name="connsiteX0" fmla="*/ 217170 w 217170"/>
                    <a:gd name="connsiteY0" fmla="*/ 142875 h 259080"/>
                    <a:gd name="connsiteX1" fmla="*/ 108585 w 217170"/>
                    <a:gd name="connsiteY1" fmla="*/ 259080 h 259080"/>
                    <a:gd name="connsiteX2" fmla="*/ 0 w 217170"/>
                    <a:gd name="connsiteY2" fmla="*/ 142875 h 259080"/>
                    <a:gd name="connsiteX3" fmla="*/ 108585 w 217170"/>
                    <a:gd name="connsiteY3" fmla="*/ 0 h 259080"/>
                    <a:gd name="connsiteX4" fmla="*/ 217170 w 217170"/>
                    <a:gd name="connsiteY4" fmla="*/ 142875 h 259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70" h="259080">
                      <a:moveTo>
                        <a:pt x="217170" y="142875"/>
                      </a:moveTo>
                      <a:cubicBezTo>
                        <a:pt x="217170" y="221933"/>
                        <a:pt x="168593" y="259080"/>
                        <a:pt x="108585" y="259080"/>
                      </a:cubicBezTo>
                      <a:cubicBezTo>
                        <a:pt x="48578" y="259080"/>
                        <a:pt x="0" y="222885"/>
                        <a:pt x="0" y="142875"/>
                      </a:cubicBezTo>
                      <a:cubicBezTo>
                        <a:pt x="0" y="63818"/>
                        <a:pt x="48578" y="0"/>
                        <a:pt x="108585" y="0"/>
                      </a:cubicBezTo>
                      <a:cubicBezTo>
                        <a:pt x="168593" y="0"/>
                        <a:pt x="217170" y="63818"/>
                        <a:pt x="217170" y="142875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5" name="任意多边形 242">
                  <a:extLst>
                    <a:ext uri="{FF2B5EF4-FFF2-40B4-BE49-F238E27FC236}">
                      <a16:creationId xmlns:a16="http://schemas.microsoft.com/office/drawing/2014/main" id="{516B6B45-BC30-325E-96E3-A73F0D8DE9A6}"/>
                    </a:ext>
                  </a:extLst>
                </p:cNvPr>
                <p:cNvSpPr/>
                <p:nvPr/>
              </p:nvSpPr>
              <p:spPr>
                <a:xfrm>
                  <a:off x="3108959" y="2200275"/>
                  <a:ext cx="217169" cy="218122"/>
                </a:xfrm>
                <a:custGeom>
                  <a:avLst/>
                  <a:gdLst>
                    <a:gd name="connsiteX0" fmla="*/ 217170 w 217169"/>
                    <a:gd name="connsiteY0" fmla="*/ 120967 h 218122"/>
                    <a:gd name="connsiteX1" fmla="*/ 108585 w 217169"/>
                    <a:gd name="connsiteY1" fmla="*/ 218122 h 218122"/>
                    <a:gd name="connsiteX2" fmla="*/ 0 w 217169"/>
                    <a:gd name="connsiteY2" fmla="*/ 120967 h 218122"/>
                    <a:gd name="connsiteX3" fmla="*/ 108585 w 217169"/>
                    <a:gd name="connsiteY3" fmla="*/ 0 h 218122"/>
                    <a:gd name="connsiteX4" fmla="*/ 217170 w 217169"/>
                    <a:gd name="connsiteY4" fmla="*/ 120967 h 218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69" h="218122">
                      <a:moveTo>
                        <a:pt x="217170" y="120967"/>
                      </a:moveTo>
                      <a:cubicBezTo>
                        <a:pt x="217170" y="187642"/>
                        <a:pt x="168592" y="218122"/>
                        <a:pt x="108585" y="218122"/>
                      </a:cubicBezTo>
                      <a:cubicBezTo>
                        <a:pt x="48577" y="218122"/>
                        <a:pt x="0" y="187642"/>
                        <a:pt x="0" y="120967"/>
                      </a:cubicBezTo>
                      <a:cubicBezTo>
                        <a:pt x="0" y="54292"/>
                        <a:pt x="48577" y="0"/>
                        <a:pt x="108585" y="0"/>
                      </a:cubicBezTo>
                      <a:cubicBezTo>
                        <a:pt x="168592" y="0"/>
                        <a:pt x="217170" y="54292"/>
                        <a:pt x="217170" y="120967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6" name="任意多边形 243">
                  <a:extLst>
                    <a:ext uri="{FF2B5EF4-FFF2-40B4-BE49-F238E27FC236}">
                      <a16:creationId xmlns:a16="http://schemas.microsoft.com/office/drawing/2014/main" id="{B11CA1F0-259E-C01B-F82B-C53C01ED3AC8}"/>
                    </a:ext>
                  </a:extLst>
                </p:cNvPr>
                <p:cNvSpPr/>
                <p:nvPr/>
              </p:nvSpPr>
              <p:spPr>
                <a:xfrm>
                  <a:off x="3016567" y="2297429"/>
                  <a:ext cx="142875" cy="144779"/>
                </a:xfrm>
                <a:custGeom>
                  <a:avLst/>
                  <a:gdLst>
                    <a:gd name="connsiteX0" fmla="*/ 142875 w 142875"/>
                    <a:gd name="connsiteY0" fmla="*/ 80010 h 144779"/>
                    <a:gd name="connsiteX1" fmla="*/ 71438 w 142875"/>
                    <a:gd name="connsiteY1" fmla="*/ 144780 h 144779"/>
                    <a:gd name="connsiteX2" fmla="*/ 0 w 142875"/>
                    <a:gd name="connsiteY2" fmla="*/ 80010 h 144779"/>
                    <a:gd name="connsiteX3" fmla="*/ 71438 w 142875"/>
                    <a:gd name="connsiteY3" fmla="*/ 0 h 144779"/>
                    <a:gd name="connsiteX4" fmla="*/ 142875 w 142875"/>
                    <a:gd name="connsiteY4" fmla="*/ 80010 h 144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875" h="144779">
                      <a:moveTo>
                        <a:pt x="142875" y="80010"/>
                      </a:moveTo>
                      <a:cubicBezTo>
                        <a:pt x="142875" y="123825"/>
                        <a:pt x="110490" y="144780"/>
                        <a:pt x="71438" y="144780"/>
                      </a:cubicBezTo>
                      <a:cubicBezTo>
                        <a:pt x="31432" y="144780"/>
                        <a:pt x="0" y="124778"/>
                        <a:pt x="0" y="80010"/>
                      </a:cubicBezTo>
                      <a:cubicBezTo>
                        <a:pt x="0" y="36195"/>
                        <a:pt x="32385" y="0"/>
                        <a:pt x="71438" y="0"/>
                      </a:cubicBezTo>
                      <a:cubicBezTo>
                        <a:pt x="110490" y="0"/>
                        <a:pt x="142875" y="36195"/>
                        <a:pt x="142875" y="8001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7" name="任意多边形 244">
                  <a:extLst>
                    <a:ext uri="{FF2B5EF4-FFF2-40B4-BE49-F238E27FC236}">
                      <a16:creationId xmlns:a16="http://schemas.microsoft.com/office/drawing/2014/main" id="{586CF587-9D97-4255-DA4C-B38AAB58227C}"/>
                    </a:ext>
                  </a:extLst>
                </p:cNvPr>
                <p:cNvSpPr/>
                <p:nvPr/>
              </p:nvSpPr>
              <p:spPr>
                <a:xfrm>
                  <a:off x="3274694" y="2323147"/>
                  <a:ext cx="167640" cy="167640"/>
                </a:xfrm>
                <a:custGeom>
                  <a:avLst/>
                  <a:gdLst>
                    <a:gd name="connsiteX0" fmla="*/ 167640 w 167640"/>
                    <a:gd name="connsiteY0" fmla="*/ 92393 h 167640"/>
                    <a:gd name="connsiteX1" fmla="*/ 83820 w 167640"/>
                    <a:gd name="connsiteY1" fmla="*/ 167640 h 167640"/>
                    <a:gd name="connsiteX2" fmla="*/ 0 w 167640"/>
                    <a:gd name="connsiteY2" fmla="*/ 92393 h 167640"/>
                    <a:gd name="connsiteX3" fmla="*/ 83820 w 167640"/>
                    <a:gd name="connsiteY3" fmla="*/ 0 h 167640"/>
                    <a:gd name="connsiteX4" fmla="*/ 167640 w 167640"/>
                    <a:gd name="connsiteY4" fmla="*/ 92393 h 1676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167640">
                      <a:moveTo>
                        <a:pt x="167640" y="92393"/>
                      </a:moveTo>
                      <a:cubicBezTo>
                        <a:pt x="167640" y="143828"/>
                        <a:pt x="130493" y="167640"/>
                        <a:pt x="83820" y="167640"/>
                      </a:cubicBezTo>
                      <a:cubicBezTo>
                        <a:pt x="38100" y="167640"/>
                        <a:pt x="0" y="143828"/>
                        <a:pt x="0" y="92393"/>
                      </a:cubicBezTo>
                      <a:cubicBezTo>
                        <a:pt x="0" y="40958"/>
                        <a:pt x="37148" y="0"/>
                        <a:pt x="83820" y="0"/>
                      </a:cubicBezTo>
                      <a:cubicBezTo>
                        <a:pt x="129540" y="0"/>
                        <a:pt x="167640" y="40958"/>
                        <a:pt x="167640" y="9239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7" name="任意多边形 245">
                <a:extLst>
                  <a:ext uri="{FF2B5EF4-FFF2-40B4-BE49-F238E27FC236}">
                    <a16:creationId xmlns:a16="http://schemas.microsoft.com/office/drawing/2014/main" id="{AB751308-8BC0-4377-BDE8-3F3FEBA2D368}"/>
                  </a:ext>
                </a:extLst>
              </p:cNvPr>
              <p:cNvSpPr/>
              <p:nvPr/>
            </p:nvSpPr>
            <p:spPr>
              <a:xfrm>
                <a:off x="2830829" y="2681287"/>
                <a:ext cx="247650" cy="92392"/>
              </a:xfrm>
              <a:custGeom>
                <a:avLst/>
                <a:gdLst>
                  <a:gd name="connsiteX0" fmla="*/ 65723 w 247650"/>
                  <a:gd name="connsiteY0" fmla="*/ 26670 h 92392"/>
                  <a:gd name="connsiteX1" fmla="*/ 86677 w 247650"/>
                  <a:gd name="connsiteY1" fmla="*/ 30480 h 92392"/>
                  <a:gd name="connsiteX2" fmla="*/ 155258 w 247650"/>
                  <a:gd name="connsiteY2" fmla="*/ 0 h 92392"/>
                  <a:gd name="connsiteX3" fmla="*/ 247650 w 247650"/>
                  <a:gd name="connsiteY3" fmla="*/ 92393 h 92392"/>
                  <a:gd name="connsiteX4" fmla="*/ 130493 w 247650"/>
                  <a:gd name="connsiteY4" fmla="*/ 92393 h 92392"/>
                  <a:gd name="connsiteX5" fmla="*/ 61913 w 247650"/>
                  <a:gd name="connsiteY5" fmla="*/ 92393 h 92392"/>
                  <a:gd name="connsiteX6" fmla="*/ 0 w 247650"/>
                  <a:gd name="connsiteY6" fmla="*/ 92393 h 92392"/>
                  <a:gd name="connsiteX7" fmla="*/ 65723 w 247650"/>
                  <a:gd name="connsiteY7" fmla="*/ 26670 h 92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7650" h="92392">
                    <a:moveTo>
                      <a:pt x="65723" y="26670"/>
                    </a:moveTo>
                    <a:cubicBezTo>
                      <a:pt x="73343" y="26670"/>
                      <a:pt x="80010" y="27622"/>
                      <a:pt x="86677" y="30480"/>
                    </a:cubicBezTo>
                    <a:cubicBezTo>
                      <a:pt x="103823" y="11430"/>
                      <a:pt x="127635" y="0"/>
                      <a:pt x="155258" y="0"/>
                    </a:cubicBezTo>
                    <a:cubicBezTo>
                      <a:pt x="206693" y="0"/>
                      <a:pt x="247650" y="40957"/>
                      <a:pt x="247650" y="92393"/>
                    </a:cubicBezTo>
                    <a:lnTo>
                      <a:pt x="130493" y="92393"/>
                    </a:lnTo>
                    <a:lnTo>
                      <a:pt x="61913" y="92393"/>
                    </a:lnTo>
                    <a:lnTo>
                      <a:pt x="0" y="92393"/>
                    </a:lnTo>
                    <a:cubicBezTo>
                      <a:pt x="0" y="56197"/>
                      <a:pt x="29528" y="26670"/>
                      <a:pt x="65723" y="2667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sp>
        <p:nvSpPr>
          <p:cNvPr id="87" name="TextBox 86">
            <a:extLst>
              <a:ext uri="{FF2B5EF4-FFF2-40B4-BE49-F238E27FC236}">
                <a16:creationId xmlns:a16="http://schemas.microsoft.com/office/drawing/2014/main" id="{9CCB6BCE-8C64-8D2C-107A-2AB210D30D0B}"/>
              </a:ext>
            </a:extLst>
          </p:cNvPr>
          <p:cNvSpPr txBox="1"/>
          <p:nvPr/>
        </p:nvSpPr>
        <p:spPr>
          <a:xfrm>
            <a:off x="2223544" y="1989939"/>
            <a:ext cx="758424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>
              <a:buFontTx/>
              <a:buChar char="-"/>
            </a:pPr>
            <a:endParaRPr lang="en-US" sz="2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marR="0" lvl="0" indent="-285750">
              <a:buFontTx/>
              <a:buChar char="-"/>
            </a:pP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Reconstructing Image</a:t>
            </a:r>
            <a:endParaRPr lang="en-US" sz="2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marR="0" lvl="0" indent="-285750">
              <a:buFontTx/>
              <a:buChar char="-"/>
            </a:pPr>
            <a:endParaRPr lang="en-US" sz="2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marR="0" lvl="0" indent="-285750">
              <a:buFontTx/>
              <a:buChar char="-"/>
            </a:pPr>
            <a:r>
              <a:rPr lang="en-US" sz="2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n2 times of convolution operations with kernel </a:t>
            </a: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of n1*f2*f2</a:t>
            </a:r>
          </a:p>
          <a:p>
            <a:pPr marR="0" lvl="0"/>
            <a:endParaRPr lang="en-US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marR="0" lvl="0" indent="-285750">
              <a:buFontTx/>
              <a:buChar char="-"/>
            </a:pPr>
            <a:r>
              <a:rPr lang="en-US" sz="2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W3: c filters of n2 * f3 * f3</a:t>
            </a:r>
          </a:p>
          <a:p>
            <a:pPr marR="0" lvl="0"/>
            <a:endParaRPr lang="en-US" sz="2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marR="0" lvl="0" indent="-285750">
              <a:buFontTx/>
              <a:buChar char="-"/>
            </a:pP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B3: c dimensions</a:t>
            </a:r>
          </a:p>
          <a:p>
            <a:pPr marR="0" lvl="0"/>
            <a:endParaRPr lang="en-US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marR="0" lvl="0" indent="-285750">
              <a:buFontTx/>
              <a:buChar char="-"/>
            </a:pP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Loss function: MSE</a:t>
            </a:r>
          </a:p>
          <a:p>
            <a:pPr marR="0" lvl="0"/>
            <a:endParaRPr lang="en-US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R="0" lvl="0"/>
            <a:r>
              <a:rPr lang="en-US" sz="2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- </a:t>
            </a:r>
          </a:p>
        </p:txBody>
      </p:sp>
      <p:pic>
        <p:nvPicPr>
          <p:cNvPr id="88" name="Picture 87">
            <a:extLst>
              <a:ext uri="{FF2B5EF4-FFF2-40B4-BE49-F238E27FC236}">
                <a16:creationId xmlns:a16="http://schemas.microsoft.com/office/drawing/2014/main" id="{B0FD5CAD-E06C-642C-DD0C-C585AEDFE9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2603" y="1449881"/>
            <a:ext cx="3506122" cy="523722"/>
          </a:xfrm>
          <a:prstGeom prst="rect">
            <a:avLst/>
          </a:prstGeom>
        </p:spPr>
      </p:pic>
      <p:pic>
        <p:nvPicPr>
          <p:cNvPr id="90" name="Picture 89">
            <a:extLst>
              <a:ext uri="{FF2B5EF4-FFF2-40B4-BE49-F238E27FC236}">
                <a16:creationId xmlns:a16="http://schemas.microsoft.com/office/drawing/2014/main" id="{299861D2-F2B4-7EE6-6D16-738FC1B3B9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68864" y="5148296"/>
            <a:ext cx="3476625" cy="8382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527391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RCNN Model Info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FE3897B8-EEF2-EF09-58E8-6380F6E3742D}"/>
              </a:ext>
            </a:extLst>
          </p:cNvPr>
          <p:cNvGrpSpPr/>
          <p:nvPr/>
        </p:nvGrpSpPr>
        <p:grpSpPr>
          <a:xfrm>
            <a:off x="8358909" y="5477164"/>
            <a:ext cx="3719729" cy="1298762"/>
            <a:chOff x="2772569" y="2151697"/>
            <a:chExt cx="6719888" cy="2554605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288EEB7A-6D63-F12F-3CCD-8F869232CFED}"/>
                </a:ext>
              </a:extLst>
            </p:cNvPr>
            <p:cNvGrpSpPr/>
            <p:nvPr/>
          </p:nvGrpSpPr>
          <p:grpSpPr>
            <a:xfrm>
              <a:off x="7873207" y="2151697"/>
              <a:ext cx="1093469" cy="2553652"/>
              <a:chOff x="7838122" y="219075"/>
              <a:chExt cx="1093469" cy="2553652"/>
            </a:xfrm>
          </p:grpSpPr>
          <p:sp>
            <p:nvSpPr>
              <p:cNvPr id="79" name="任意多边形 157">
                <a:extLst>
                  <a:ext uri="{FF2B5EF4-FFF2-40B4-BE49-F238E27FC236}">
                    <a16:creationId xmlns:a16="http://schemas.microsoft.com/office/drawing/2014/main" id="{2213DB1D-7987-2518-5F24-BC1269ED5332}"/>
                  </a:ext>
                </a:extLst>
              </p:cNvPr>
              <p:cNvSpPr/>
              <p:nvPr/>
            </p:nvSpPr>
            <p:spPr>
              <a:xfrm>
                <a:off x="8309609" y="280987"/>
                <a:ext cx="151447" cy="2491740"/>
              </a:xfrm>
              <a:custGeom>
                <a:avLst/>
                <a:gdLst>
                  <a:gd name="connsiteX0" fmla="*/ 151447 w 151447"/>
                  <a:gd name="connsiteY0" fmla="*/ 2491740 h 2491740"/>
                  <a:gd name="connsiteX1" fmla="*/ 0 w 151447"/>
                  <a:gd name="connsiteY1" fmla="*/ 2491740 h 2491740"/>
                  <a:gd name="connsiteX2" fmla="*/ 52388 w 151447"/>
                  <a:gd name="connsiteY2" fmla="*/ 0 h 2491740"/>
                  <a:gd name="connsiteX3" fmla="*/ 99060 w 151447"/>
                  <a:gd name="connsiteY3" fmla="*/ 0 h 249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1447" h="2491740">
                    <a:moveTo>
                      <a:pt x="151447" y="2491740"/>
                    </a:moveTo>
                    <a:lnTo>
                      <a:pt x="0" y="2491740"/>
                    </a:lnTo>
                    <a:lnTo>
                      <a:pt x="52388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80" name="组合 79">
                <a:extLst>
                  <a:ext uri="{FF2B5EF4-FFF2-40B4-BE49-F238E27FC236}">
                    <a16:creationId xmlns:a16="http://schemas.microsoft.com/office/drawing/2014/main" id="{CE8422B4-726A-DB9F-07F1-52E3B10F3199}"/>
                  </a:ext>
                </a:extLst>
              </p:cNvPr>
              <p:cNvGrpSpPr/>
              <p:nvPr/>
            </p:nvGrpSpPr>
            <p:grpSpPr>
              <a:xfrm>
                <a:off x="7838122" y="219075"/>
                <a:ext cx="1093469" cy="1788795"/>
                <a:chOff x="7838122" y="219075"/>
                <a:chExt cx="1093469" cy="1788795"/>
              </a:xfrm>
            </p:grpSpPr>
            <p:sp>
              <p:nvSpPr>
                <p:cNvPr id="81" name="任意多边形 159">
                  <a:extLst>
                    <a:ext uri="{FF2B5EF4-FFF2-40B4-BE49-F238E27FC236}">
                      <a16:creationId xmlns:a16="http://schemas.microsoft.com/office/drawing/2014/main" id="{0A2A7881-9992-9D31-1E8B-BB6DD3AAA61E}"/>
                    </a:ext>
                  </a:extLst>
                </p:cNvPr>
                <p:cNvSpPr/>
                <p:nvPr/>
              </p:nvSpPr>
              <p:spPr>
                <a:xfrm>
                  <a:off x="7838122" y="1418272"/>
                  <a:ext cx="1093469" cy="589597"/>
                </a:xfrm>
                <a:custGeom>
                  <a:avLst/>
                  <a:gdLst>
                    <a:gd name="connsiteX0" fmla="*/ 542925 w 1093469"/>
                    <a:gd name="connsiteY0" fmla="*/ 0 h 589597"/>
                    <a:gd name="connsiteX1" fmla="*/ 0 w 1093469"/>
                    <a:gd name="connsiteY1" fmla="*/ 589598 h 589597"/>
                    <a:gd name="connsiteX2" fmla="*/ 546735 w 1093469"/>
                    <a:gd name="connsiteY2" fmla="*/ 589598 h 589597"/>
                    <a:gd name="connsiteX3" fmla="*/ 1093470 w 1093469"/>
                    <a:gd name="connsiteY3" fmla="*/ 589598 h 589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93469" h="589597">
                      <a:moveTo>
                        <a:pt x="542925" y="0"/>
                      </a:moveTo>
                      <a:lnTo>
                        <a:pt x="0" y="589598"/>
                      </a:lnTo>
                      <a:lnTo>
                        <a:pt x="546735" y="589598"/>
                      </a:lnTo>
                      <a:lnTo>
                        <a:pt x="1093470" y="589598"/>
                      </a:ln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2" name="任意多边形 160">
                  <a:extLst>
                    <a:ext uri="{FF2B5EF4-FFF2-40B4-BE49-F238E27FC236}">
                      <a16:creationId xmlns:a16="http://schemas.microsoft.com/office/drawing/2014/main" id="{F8F9F474-39FD-549B-8463-BF4B90EECB34}"/>
                    </a:ext>
                  </a:extLst>
                </p:cNvPr>
                <p:cNvSpPr/>
                <p:nvPr/>
              </p:nvSpPr>
              <p:spPr>
                <a:xfrm>
                  <a:off x="7892414" y="1091564"/>
                  <a:ext cx="979170" cy="480060"/>
                </a:xfrm>
                <a:custGeom>
                  <a:avLst/>
                  <a:gdLst>
                    <a:gd name="connsiteX0" fmla="*/ 486728 w 979170"/>
                    <a:gd name="connsiteY0" fmla="*/ 0 h 480060"/>
                    <a:gd name="connsiteX1" fmla="*/ 0 w 979170"/>
                    <a:gd name="connsiteY1" fmla="*/ 480060 h 480060"/>
                    <a:gd name="connsiteX2" fmla="*/ 489585 w 979170"/>
                    <a:gd name="connsiteY2" fmla="*/ 480060 h 480060"/>
                    <a:gd name="connsiteX3" fmla="*/ 979170 w 979170"/>
                    <a:gd name="connsiteY3" fmla="*/ 480060 h 4800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9170" h="480060">
                      <a:moveTo>
                        <a:pt x="486728" y="0"/>
                      </a:moveTo>
                      <a:lnTo>
                        <a:pt x="0" y="480060"/>
                      </a:lnTo>
                      <a:lnTo>
                        <a:pt x="489585" y="480060"/>
                      </a:lnTo>
                      <a:lnTo>
                        <a:pt x="979170" y="480060"/>
                      </a:ln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3" name="任意多边形 161">
                  <a:extLst>
                    <a:ext uri="{FF2B5EF4-FFF2-40B4-BE49-F238E27FC236}">
                      <a16:creationId xmlns:a16="http://schemas.microsoft.com/office/drawing/2014/main" id="{B4C3880F-53E7-C432-510D-7B042445B7E9}"/>
                    </a:ext>
                  </a:extLst>
                </p:cNvPr>
                <p:cNvSpPr/>
                <p:nvPr/>
              </p:nvSpPr>
              <p:spPr>
                <a:xfrm>
                  <a:off x="7937181" y="819150"/>
                  <a:ext cx="886777" cy="398145"/>
                </a:xfrm>
                <a:custGeom>
                  <a:avLst/>
                  <a:gdLst>
                    <a:gd name="connsiteX0" fmla="*/ 441007 w 886777"/>
                    <a:gd name="connsiteY0" fmla="*/ 0 h 398145"/>
                    <a:gd name="connsiteX1" fmla="*/ 0 w 886777"/>
                    <a:gd name="connsiteY1" fmla="*/ 398145 h 398145"/>
                    <a:gd name="connsiteX2" fmla="*/ 442913 w 886777"/>
                    <a:gd name="connsiteY2" fmla="*/ 398145 h 398145"/>
                    <a:gd name="connsiteX3" fmla="*/ 886778 w 886777"/>
                    <a:gd name="connsiteY3" fmla="*/ 398145 h 3981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86777" h="398145">
                      <a:moveTo>
                        <a:pt x="441007" y="0"/>
                      </a:moveTo>
                      <a:lnTo>
                        <a:pt x="0" y="398145"/>
                      </a:lnTo>
                      <a:lnTo>
                        <a:pt x="442913" y="398145"/>
                      </a:lnTo>
                      <a:lnTo>
                        <a:pt x="886778" y="398145"/>
                      </a:ln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4" name="任意多边形 162">
                  <a:extLst>
                    <a:ext uri="{FF2B5EF4-FFF2-40B4-BE49-F238E27FC236}">
                      <a16:creationId xmlns:a16="http://schemas.microsoft.com/office/drawing/2014/main" id="{18997019-715B-82F9-E48A-9B698523B9F4}"/>
                    </a:ext>
                  </a:extLst>
                </p:cNvPr>
                <p:cNvSpPr/>
                <p:nvPr/>
              </p:nvSpPr>
              <p:spPr>
                <a:xfrm>
                  <a:off x="7973376" y="587692"/>
                  <a:ext cx="809625" cy="336232"/>
                </a:xfrm>
                <a:custGeom>
                  <a:avLst/>
                  <a:gdLst>
                    <a:gd name="connsiteX0" fmla="*/ 402908 w 809625"/>
                    <a:gd name="connsiteY0" fmla="*/ 0 h 336232"/>
                    <a:gd name="connsiteX1" fmla="*/ 0 w 809625"/>
                    <a:gd name="connsiteY1" fmla="*/ 336233 h 336232"/>
                    <a:gd name="connsiteX2" fmla="*/ 404813 w 809625"/>
                    <a:gd name="connsiteY2" fmla="*/ 336233 h 336232"/>
                    <a:gd name="connsiteX3" fmla="*/ 809625 w 809625"/>
                    <a:gd name="connsiteY3" fmla="*/ 336233 h 336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9625" h="336232">
                      <a:moveTo>
                        <a:pt x="402908" y="0"/>
                      </a:moveTo>
                      <a:lnTo>
                        <a:pt x="0" y="336233"/>
                      </a:lnTo>
                      <a:lnTo>
                        <a:pt x="404813" y="336233"/>
                      </a:lnTo>
                      <a:lnTo>
                        <a:pt x="809625" y="336233"/>
                      </a:lnTo>
                      <a:close/>
                    </a:path>
                  </a:pathLst>
                </a:custGeom>
                <a:solidFill>
                  <a:srgbClr val="45BC5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5" name="任意多边形 163">
                  <a:extLst>
                    <a:ext uri="{FF2B5EF4-FFF2-40B4-BE49-F238E27FC236}">
                      <a16:creationId xmlns:a16="http://schemas.microsoft.com/office/drawing/2014/main" id="{217A25B9-5B7F-7AFC-8782-B70DFEE4F8E1}"/>
                    </a:ext>
                  </a:extLst>
                </p:cNvPr>
                <p:cNvSpPr/>
                <p:nvPr/>
              </p:nvSpPr>
              <p:spPr>
                <a:xfrm>
                  <a:off x="8003856" y="390525"/>
                  <a:ext cx="745807" cy="286702"/>
                </a:xfrm>
                <a:custGeom>
                  <a:avLst/>
                  <a:gdLst>
                    <a:gd name="connsiteX0" fmla="*/ 371475 w 745807"/>
                    <a:gd name="connsiteY0" fmla="*/ 0 h 286702"/>
                    <a:gd name="connsiteX1" fmla="*/ 0 w 745807"/>
                    <a:gd name="connsiteY1" fmla="*/ 286703 h 286702"/>
                    <a:gd name="connsiteX2" fmla="*/ 373380 w 745807"/>
                    <a:gd name="connsiteY2" fmla="*/ 286703 h 286702"/>
                    <a:gd name="connsiteX3" fmla="*/ 745807 w 745807"/>
                    <a:gd name="connsiteY3" fmla="*/ 286703 h 286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5807" h="286702">
                      <a:moveTo>
                        <a:pt x="371475" y="0"/>
                      </a:moveTo>
                      <a:lnTo>
                        <a:pt x="0" y="286703"/>
                      </a:lnTo>
                      <a:lnTo>
                        <a:pt x="373380" y="286703"/>
                      </a:lnTo>
                      <a:lnTo>
                        <a:pt x="745807" y="286703"/>
                      </a:ln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6" name="任意多边形 164">
                  <a:extLst>
                    <a:ext uri="{FF2B5EF4-FFF2-40B4-BE49-F238E27FC236}">
                      <a16:creationId xmlns:a16="http://schemas.microsoft.com/office/drawing/2014/main" id="{239CADBE-6253-A96B-B807-8A77D736DC3B}"/>
                    </a:ext>
                  </a:extLst>
                </p:cNvPr>
                <p:cNvSpPr/>
                <p:nvPr/>
              </p:nvSpPr>
              <p:spPr>
                <a:xfrm>
                  <a:off x="8030526" y="219075"/>
                  <a:ext cx="690562" cy="248602"/>
                </a:xfrm>
                <a:custGeom>
                  <a:avLst/>
                  <a:gdLst>
                    <a:gd name="connsiteX0" fmla="*/ 343853 w 690562"/>
                    <a:gd name="connsiteY0" fmla="*/ 0 h 248602"/>
                    <a:gd name="connsiteX1" fmla="*/ 0 w 690562"/>
                    <a:gd name="connsiteY1" fmla="*/ 248603 h 248602"/>
                    <a:gd name="connsiteX2" fmla="*/ 344805 w 690562"/>
                    <a:gd name="connsiteY2" fmla="*/ 248603 h 248602"/>
                    <a:gd name="connsiteX3" fmla="*/ 690563 w 690562"/>
                    <a:gd name="connsiteY3" fmla="*/ 248603 h 2486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0562" h="248602">
                      <a:moveTo>
                        <a:pt x="343853" y="0"/>
                      </a:moveTo>
                      <a:lnTo>
                        <a:pt x="0" y="248603"/>
                      </a:lnTo>
                      <a:lnTo>
                        <a:pt x="344805" y="248603"/>
                      </a:lnTo>
                      <a:lnTo>
                        <a:pt x="690563" y="248603"/>
                      </a:ln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0EE8A529-A0C2-7EAA-9B89-4429797D4163}"/>
                </a:ext>
              </a:extLst>
            </p:cNvPr>
            <p:cNvGrpSpPr/>
            <p:nvPr/>
          </p:nvGrpSpPr>
          <p:grpSpPr>
            <a:xfrm>
              <a:off x="5240497" y="2258376"/>
              <a:ext cx="1892617" cy="2446972"/>
              <a:chOff x="5205412" y="325754"/>
              <a:chExt cx="1892617" cy="2446972"/>
            </a:xfrm>
          </p:grpSpPr>
          <p:sp>
            <p:nvSpPr>
              <p:cNvPr id="67" name="任意多边形 168">
                <a:extLst>
                  <a:ext uri="{FF2B5EF4-FFF2-40B4-BE49-F238E27FC236}">
                    <a16:creationId xmlns:a16="http://schemas.microsoft.com/office/drawing/2014/main" id="{2D4433C8-29BD-5179-5F6B-C6147B2C3C5E}"/>
                  </a:ext>
                </a:extLst>
              </p:cNvPr>
              <p:cNvSpPr/>
              <p:nvPr/>
            </p:nvSpPr>
            <p:spPr>
              <a:xfrm>
                <a:off x="6055042" y="425767"/>
                <a:ext cx="194309" cy="2346960"/>
              </a:xfrm>
              <a:custGeom>
                <a:avLst/>
                <a:gdLst>
                  <a:gd name="connsiteX0" fmla="*/ 194310 w 194309"/>
                  <a:gd name="connsiteY0" fmla="*/ 2346960 h 2346960"/>
                  <a:gd name="connsiteX1" fmla="*/ 0 w 194309"/>
                  <a:gd name="connsiteY1" fmla="*/ 2346960 h 2346960"/>
                  <a:gd name="connsiteX2" fmla="*/ 66675 w 194309"/>
                  <a:gd name="connsiteY2" fmla="*/ 0 h 2346960"/>
                  <a:gd name="connsiteX3" fmla="*/ 127635 w 194309"/>
                  <a:gd name="connsiteY3" fmla="*/ 0 h 2346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4309" h="2346960">
                    <a:moveTo>
                      <a:pt x="194310" y="2346960"/>
                    </a:moveTo>
                    <a:lnTo>
                      <a:pt x="0" y="2346960"/>
                    </a:lnTo>
                    <a:lnTo>
                      <a:pt x="66675" y="0"/>
                    </a:lnTo>
                    <a:lnTo>
                      <a:pt x="127635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8" name="组合 67">
                <a:extLst>
                  <a:ext uri="{FF2B5EF4-FFF2-40B4-BE49-F238E27FC236}">
                    <a16:creationId xmlns:a16="http://schemas.microsoft.com/office/drawing/2014/main" id="{0E828CA0-2B27-4FF0-3F8F-362952D1CC0B}"/>
                  </a:ext>
                </a:extLst>
              </p:cNvPr>
              <p:cNvGrpSpPr/>
              <p:nvPr/>
            </p:nvGrpSpPr>
            <p:grpSpPr>
              <a:xfrm>
                <a:off x="5205412" y="325754"/>
                <a:ext cx="1892617" cy="1728787"/>
                <a:chOff x="5205412" y="325754"/>
                <a:chExt cx="1892617" cy="1728787"/>
              </a:xfrm>
            </p:grpSpPr>
            <p:sp>
              <p:nvSpPr>
                <p:cNvPr id="69" name="任意多边形 170">
                  <a:extLst>
                    <a:ext uri="{FF2B5EF4-FFF2-40B4-BE49-F238E27FC236}">
                      <a16:creationId xmlns:a16="http://schemas.microsoft.com/office/drawing/2014/main" id="{89036D5B-F315-A58D-CCF7-A3350BDF4A45}"/>
                    </a:ext>
                  </a:extLst>
                </p:cNvPr>
                <p:cNvSpPr/>
                <p:nvPr/>
              </p:nvSpPr>
              <p:spPr>
                <a:xfrm>
                  <a:off x="5354954" y="596264"/>
                  <a:ext cx="741044" cy="741045"/>
                </a:xfrm>
                <a:custGeom>
                  <a:avLst/>
                  <a:gdLst>
                    <a:gd name="connsiteX0" fmla="*/ 741045 w 741044"/>
                    <a:gd name="connsiteY0" fmla="*/ 370523 h 741045"/>
                    <a:gd name="connsiteX1" fmla="*/ 370522 w 741044"/>
                    <a:gd name="connsiteY1" fmla="*/ 741045 h 741045"/>
                    <a:gd name="connsiteX2" fmla="*/ 0 w 741044"/>
                    <a:gd name="connsiteY2" fmla="*/ 370523 h 741045"/>
                    <a:gd name="connsiteX3" fmla="*/ 370522 w 741044"/>
                    <a:gd name="connsiteY3" fmla="*/ 0 h 741045"/>
                    <a:gd name="connsiteX4" fmla="*/ 741045 w 741044"/>
                    <a:gd name="connsiteY4" fmla="*/ 370523 h 741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1044" h="741045">
                      <a:moveTo>
                        <a:pt x="741045" y="370523"/>
                      </a:moveTo>
                      <a:cubicBezTo>
                        <a:pt x="741045" y="575310"/>
                        <a:pt x="575310" y="741045"/>
                        <a:pt x="370522" y="741045"/>
                      </a:cubicBezTo>
                      <a:cubicBezTo>
                        <a:pt x="165735" y="741045"/>
                        <a:pt x="0" y="575310"/>
                        <a:pt x="0" y="370523"/>
                      </a:cubicBezTo>
                      <a:cubicBezTo>
                        <a:pt x="0" y="165735"/>
                        <a:pt x="165735" y="0"/>
                        <a:pt x="370522" y="0"/>
                      </a:cubicBezTo>
                      <a:cubicBezTo>
                        <a:pt x="574357" y="0"/>
                        <a:pt x="741045" y="165735"/>
                        <a:pt x="741045" y="370523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0" name="任意多边形 171">
                  <a:extLst>
                    <a:ext uri="{FF2B5EF4-FFF2-40B4-BE49-F238E27FC236}">
                      <a16:creationId xmlns:a16="http://schemas.microsoft.com/office/drawing/2014/main" id="{C780C4B8-6F91-E2B7-1DF4-1331E326ACE1}"/>
                    </a:ext>
                  </a:extLst>
                </p:cNvPr>
                <p:cNvSpPr/>
                <p:nvPr/>
              </p:nvSpPr>
              <p:spPr>
                <a:xfrm>
                  <a:off x="6587489" y="866769"/>
                  <a:ext cx="510540" cy="510545"/>
                </a:xfrm>
                <a:custGeom>
                  <a:avLst/>
                  <a:gdLst>
                    <a:gd name="connsiteX0" fmla="*/ 510540 w 510540"/>
                    <a:gd name="connsiteY0" fmla="*/ 255276 h 510545"/>
                    <a:gd name="connsiteX1" fmla="*/ 255270 w 510540"/>
                    <a:gd name="connsiteY1" fmla="*/ 510546 h 510545"/>
                    <a:gd name="connsiteX2" fmla="*/ 0 w 510540"/>
                    <a:gd name="connsiteY2" fmla="*/ 255276 h 510545"/>
                    <a:gd name="connsiteX3" fmla="*/ 255270 w 510540"/>
                    <a:gd name="connsiteY3" fmla="*/ 6 h 510545"/>
                    <a:gd name="connsiteX4" fmla="*/ 510540 w 510540"/>
                    <a:gd name="connsiteY4" fmla="*/ 255276 h 5105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0540" h="510545">
                      <a:moveTo>
                        <a:pt x="510540" y="255276"/>
                      </a:moveTo>
                      <a:cubicBezTo>
                        <a:pt x="510540" y="396246"/>
                        <a:pt x="396240" y="510546"/>
                        <a:pt x="255270" y="510546"/>
                      </a:cubicBezTo>
                      <a:cubicBezTo>
                        <a:pt x="114300" y="510546"/>
                        <a:pt x="0" y="396246"/>
                        <a:pt x="0" y="255276"/>
                      </a:cubicBezTo>
                      <a:cubicBezTo>
                        <a:pt x="0" y="114306"/>
                        <a:pt x="114300" y="6"/>
                        <a:pt x="255270" y="6"/>
                      </a:cubicBezTo>
                      <a:cubicBezTo>
                        <a:pt x="396240" y="-947"/>
                        <a:pt x="510540" y="114306"/>
                        <a:pt x="510540" y="255276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1" name="任意多边形 172">
                  <a:extLst>
                    <a:ext uri="{FF2B5EF4-FFF2-40B4-BE49-F238E27FC236}">
                      <a16:creationId xmlns:a16="http://schemas.microsoft.com/office/drawing/2014/main" id="{45852896-3580-FC80-BB74-E128DBCB25C1}"/>
                    </a:ext>
                  </a:extLst>
                </p:cNvPr>
                <p:cNvSpPr/>
                <p:nvPr/>
              </p:nvSpPr>
              <p:spPr>
                <a:xfrm>
                  <a:off x="5427344" y="545782"/>
                  <a:ext cx="1508760" cy="1508759"/>
                </a:xfrm>
                <a:custGeom>
                  <a:avLst/>
                  <a:gdLst>
                    <a:gd name="connsiteX0" fmla="*/ 1508760 w 1508760"/>
                    <a:gd name="connsiteY0" fmla="*/ 754380 h 1508759"/>
                    <a:gd name="connsiteX1" fmla="*/ 754380 w 1508760"/>
                    <a:gd name="connsiteY1" fmla="*/ 1508760 h 1508759"/>
                    <a:gd name="connsiteX2" fmla="*/ 0 w 1508760"/>
                    <a:gd name="connsiteY2" fmla="*/ 754380 h 1508759"/>
                    <a:gd name="connsiteX3" fmla="*/ 754380 w 1508760"/>
                    <a:gd name="connsiteY3" fmla="*/ 0 h 1508759"/>
                    <a:gd name="connsiteX4" fmla="*/ 1508760 w 1508760"/>
                    <a:gd name="connsiteY4" fmla="*/ 754380 h 1508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760" h="1508759">
                      <a:moveTo>
                        <a:pt x="1508760" y="754380"/>
                      </a:moveTo>
                      <a:cubicBezTo>
                        <a:pt x="1508760" y="1170623"/>
                        <a:pt x="1171575" y="1508760"/>
                        <a:pt x="754380" y="1508760"/>
                      </a:cubicBezTo>
                      <a:cubicBezTo>
                        <a:pt x="338138" y="1508760"/>
                        <a:pt x="0" y="1171575"/>
                        <a:pt x="0" y="754380"/>
                      </a:cubicBezTo>
                      <a:cubicBezTo>
                        <a:pt x="0" y="338138"/>
                        <a:pt x="337185" y="0"/>
                        <a:pt x="754380" y="0"/>
                      </a:cubicBezTo>
                      <a:cubicBezTo>
                        <a:pt x="1171575" y="953"/>
                        <a:pt x="1508760" y="338138"/>
                        <a:pt x="1508760" y="754380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2" name="任意多边形 173">
                  <a:extLst>
                    <a:ext uri="{FF2B5EF4-FFF2-40B4-BE49-F238E27FC236}">
                      <a16:creationId xmlns:a16="http://schemas.microsoft.com/office/drawing/2014/main" id="{87ED978A-82A5-87A8-042C-E55759CA1A98}"/>
                    </a:ext>
                  </a:extLst>
                </p:cNvPr>
                <p:cNvSpPr/>
                <p:nvPr/>
              </p:nvSpPr>
              <p:spPr>
                <a:xfrm>
                  <a:off x="5205412" y="1026795"/>
                  <a:ext cx="798194" cy="798195"/>
                </a:xfrm>
                <a:custGeom>
                  <a:avLst/>
                  <a:gdLst>
                    <a:gd name="connsiteX0" fmla="*/ 798195 w 798194"/>
                    <a:gd name="connsiteY0" fmla="*/ 399097 h 798195"/>
                    <a:gd name="connsiteX1" fmla="*/ 399097 w 798194"/>
                    <a:gd name="connsiteY1" fmla="*/ 798195 h 798195"/>
                    <a:gd name="connsiteX2" fmla="*/ 0 w 798194"/>
                    <a:gd name="connsiteY2" fmla="*/ 399097 h 798195"/>
                    <a:gd name="connsiteX3" fmla="*/ 399097 w 798194"/>
                    <a:gd name="connsiteY3" fmla="*/ 0 h 798195"/>
                    <a:gd name="connsiteX4" fmla="*/ 798195 w 798194"/>
                    <a:gd name="connsiteY4" fmla="*/ 399097 h 798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98194" h="798195">
                      <a:moveTo>
                        <a:pt x="798195" y="399097"/>
                      </a:moveTo>
                      <a:cubicBezTo>
                        <a:pt x="798195" y="619125"/>
                        <a:pt x="619125" y="798195"/>
                        <a:pt x="399097" y="798195"/>
                      </a:cubicBezTo>
                      <a:cubicBezTo>
                        <a:pt x="179070" y="798195"/>
                        <a:pt x="0" y="619125"/>
                        <a:pt x="0" y="399097"/>
                      </a:cubicBezTo>
                      <a:cubicBezTo>
                        <a:pt x="0" y="179070"/>
                        <a:pt x="179070" y="0"/>
                        <a:pt x="399097" y="0"/>
                      </a:cubicBezTo>
                      <a:cubicBezTo>
                        <a:pt x="619125" y="0"/>
                        <a:pt x="798195" y="179070"/>
                        <a:pt x="798195" y="399097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3" name="任意多边形 174">
                  <a:extLst>
                    <a:ext uri="{FF2B5EF4-FFF2-40B4-BE49-F238E27FC236}">
                      <a16:creationId xmlns:a16="http://schemas.microsoft.com/office/drawing/2014/main" id="{83A364DA-108D-EFFF-827F-7748356E0A7F}"/>
                    </a:ext>
                  </a:extLst>
                </p:cNvPr>
                <p:cNvSpPr/>
                <p:nvPr/>
              </p:nvSpPr>
              <p:spPr>
                <a:xfrm>
                  <a:off x="6276021" y="1425892"/>
                  <a:ext cx="609600" cy="609600"/>
                </a:xfrm>
                <a:custGeom>
                  <a:avLst/>
                  <a:gdLst>
                    <a:gd name="connsiteX0" fmla="*/ 609600 w 609600"/>
                    <a:gd name="connsiteY0" fmla="*/ 304800 h 609600"/>
                    <a:gd name="connsiteX1" fmla="*/ 304800 w 609600"/>
                    <a:gd name="connsiteY1" fmla="*/ 609600 h 609600"/>
                    <a:gd name="connsiteX2" fmla="*/ 0 w 609600"/>
                    <a:gd name="connsiteY2" fmla="*/ 304800 h 609600"/>
                    <a:gd name="connsiteX3" fmla="*/ 304800 w 609600"/>
                    <a:gd name="connsiteY3" fmla="*/ 0 h 609600"/>
                    <a:gd name="connsiteX4" fmla="*/ 609600 w 609600"/>
                    <a:gd name="connsiteY4" fmla="*/ 304800 h 609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9600" h="609600">
                      <a:moveTo>
                        <a:pt x="609600" y="304800"/>
                      </a:moveTo>
                      <a:cubicBezTo>
                        <a:pt x="609600" y="473392"/>
                        <a:pt x="473393" y="609600"/>
                        <a:pt x="304800" y="609600"/>
                      </a:cubicBezTo>
                      <a:cubicBezTo>
                        <a:pt x="136208" y="609600"/>
                        <a:pt x="0" y="473392"/>
                        <a:pt x="0" y="304800"/>
                      </a:cubicBezTo>
                      <a:cubicBezTo>
                        <a:pt x="0" y="136208"/>
                        <a:pt x="136208" y="0"/>
                        <a:pt x="304800" y="0"/>
                      </a:cubicBezTo>
                      <a:cubicBezTo>
                        <a:pt x="473393" y="0"/>
                        <a:pt x="609600" y="136208"/>
                        <a:pt x="609600" y="30480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4" name="任意多边形 175">
                  <a:extLst>
                    <a:ext uri="{FF2B5EF4-FFF2-40B4-BE49-F238E27FC236}">
                      <a16:creationId xmlns:a16="http://schemas.microsoft.com/office/drawing/2014/main" id="{297248F1-49D8-9218-369A-9711FCB5E1D8}"/>
                    </a:ext>
                  </a:extLst>
                </p:cNvPr>
                <p:cNvSpPr/>
                <p:nvPr/>
              </p:nvSpPr>
              <p:spPr>
                <a:xfrm>
                  <a:off x="5838824" y="325754"/>
                  <a:ext cx="1003934" cy="1003934"/>
                </a:xfrm>
                <a:custGeom>
                  <a:avLst/>
                  <a:gdLst>
                    <a:gd name="connsiteX0" fmla="*/ 1003935 w 1003934"/>
                    <a:gd name="connsiteY0" fmla="*/ 501968 h 1003934"/>
                    <a:gd name="connsiteX1" fmla="*/ 501968 w 1003934"/>
                    <a:gd name="connsiteY1" fmla="*/ 1003935 h 1003934"/>
                    <a:gd name="connsiteX2" fmla="*/ 0 w 1003934"/>
                    <a:gd name="connsiteY2" fmla="*/ 501968 h 1003934"/>
                    <a:gd name="connsiteX3" fmla="*/ 501968 w 1003934"/>
                    <a:gd name="connsiteY3" fmla="*/ 0 h 1003934"/>
                    <a:gd name="connsiteX4" fmla="*/ 1003935 w 1003934"/>
                    <a:gd name="connsiteY4" fmla="*/ 501968 h 1003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3934" h="1003934">
                      <a:moveTo>
                        <a:pt x="1003935" y="501968"/>
                      </a:moveTo>
                      <a:cubicBezTo>
                        <a:pt x="1003935" y="779145"/>
                        <a:pt x="779145" y="1003935"/>
                        <a:pt x="501968" y="1003935"/>
                      </a:cubicBezTo>
                      <a:cubicBezTo>
                        <a:pt x="224790" y="1003935"/>
                        <a:pt x="0" y="779145"/>
                        <a:pt x="0" y="501968"/>
                      </a:cubicBezTo>
                      <a:cubicBezTo>
                        <a:pt x="0" y="224790"/>
                        <a:pt x="224790" y="0"/>
                        <a:pt x="501968" y="0"/>
                      </a:cubicBezTo>
                      <a:cubicBezTo>
                        <a:pt x="779145" y="0"/>
                        <a:pt x="1003935" y="224790"/>
                        <a:pt x="1003935" y="501968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5" name="任意多边形 176">
                  <a:extLst>
                    <a:ext uri="{FF2B5EF4-FFF2-40B4-BE49-F238E27FC236}">
                      <a16:creationId xmlns:a16="http://schemas.microsoft.com/office/drawing/2014/main" id="{F6192EB6-B73E-7024-6684-4B7E668E7FF6}"/>
                    </a:ext>
                  </a:extLst>
                </p:cNvPr>
                <p:cNvSpPr/>
                <p:nvPr/>
              </p:nvSpPr>
              <p:spPr>
                <a:xfrm>
                  <a:off x="6095046" y="1067752"/>
                  <a:ext cx="716280" cy="716280"/>
                </a:xfrm>
                <a:custGeom>
                  <a:avLst/>
                  <a:gdLst>
                    <a:gd name="connsiteX0" fmla="*/ 716280 w 716280"/>
                    <a:gd name="connsiteY0" fmla="*/ 358140 h 716280"/>
                    <a:gd name="connsiteX1" fmla="*/ 358140 w 716280"/>
                    <a:gd name="connsiteY1" fmla="*/ 716280 h 716280"/>
                    <a:gd name="connsiteX2" fmla="*/ 0 w 716280"/>
                    <a:gd name="connsiteY2" fmla="*/ 358140 h 716280"/>
                    <a:gd name="connsiteX3" fmla="*/ 358140 w 716280"/>
                    <a:gd name="connsiteY3" fmla="*/ 0 h 716280"/>
                    <a:gd name="connsiteX4" fmla="*/ 716280 w 716280"/>
                    <a:gd name="connsiteY4" fmla="*/ 358140 h 716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6280" h="716280">
                      <a:moveTo>
                        <a:pt x="716280" y="358140"/>
                      </a:moveTo>
                      <a:cubicBezTo>
                        <a:pt x="716280" y="556260"/>
                        <a:pt x="556260" y="716280"/>
                        <a:pt x="358140" y="716280"/>
                      </a:cubicBezTo>
                      <a:cubicBezTo>
                        <a:pt x="160020" y="716280"/>
                        <a:pt x="0" y="556260"/>
                        <a:pt x="0" y="358140"/>
                      </a:cubicBezTo>
                      <a:cubicBezTo>
                        <a:pt x="0" y="160020"/>
                        <a:pt x="160020" y="0"/>
                        <a:pt x="358140" y="0"/>
                      </a:cubicBezTo>
                      <a:cubicBezTo>
                        <a:pt x="556260" y="0"/>
                        <a:pt x="716280" y="160020"/>
                        <a:pt x="716280" y="35814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" name="任意多边形 177">
                  <a:extLst>
                    <a:ext uri="{FF2B5EF4-FFF2-40B4-BE49-F238E27FC236}">
                      <a16:creationId xmlns:a16="http://schemas.microsoft.com/office/drawing/2014/main" id="{6622D1DE-115D-1D7A-508A-90656F1A0010}"/>
                    </a:ext>
                  </a:extLst>
                </p:cNvPr>
                <p:cNvSpPr/>
                <p:nvPr/>
              </p:nvSpPr>
              <p:spPr>
                <a:xfrm>
                  <a:off x="5825489" y="1122045"/>
                  <a:ext cx="356234" cy="356234"/>
                </a:xfrm>
                <a:custGeom>
                  <a:avLst/>
                  <a:gdLst>
                    <a:gd name="connsiteX0" fmla="*/ 356235 w 356234"/>
                    <a:gd name="connsiteY0" fmla="*/ 178117 h 356234"/>
                    <a:gd name="connsiteX1" fmla="*/ 178117 w 356234"/>
                    <a:gd name="connsiteY1" fmla="*/ 356235 h 356234"/>
                    <a:gd name="connsiteX2" fmla="*/ 0 w 356234"/>
                    <a:gd name="connsiteY2" fmla="*/ 178117 h 356234"/>
                    <a:gd name="connsiteX3" fmla="*/ 178117 w 356234"/>
                    <a:gd name="connsiteY3" fmla="*/ 0 h 356234"/>
                    <a:gd name="connsiteX4" fmla="*/ 356235 w 356234"/>
                    <a:gd name="connsiteY4" fmla="*/ 178117 h 3562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234" h="356234">
                      <a:moveTo>
                        <a:pt x="356235" y="178117"/>
                      </a:moveTo>
                      <a:cubicBezTo>
                        <a:pt x="356235" y="276225"/>
                        <a:pt x="276225" y="356235"/>
                        <a:pt x="178117" y="356235"/>
                      </a:cubicBezTo>
                      <a:cubicBezTo>
                        <a:pt x="80010" y="356235"/>
                        <a:pt x="0" y="276225"/>
                        <a:pt x="0" y="178117"/>
                      </a:cubicBezTo>
                      <a:cubicBezTo>
                        <a:pt x="0" y="80010"/>
                        <a:pt x="80010" y="0"/>
                        <a:pt x="178117" y="0"/>
                      </a:cubicBezTo>
                      <a:cubicBezTo>
                        <a:pt x="277178" y="0"/>
                        <a:pt x="356235" y="80010"/>
                        <a:pt x="356235" y="178117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7" name="任意多边形 178">
                  <a:extLst>
                    <a:ext uri="{FF2B5EF4-FFF2-40B4-BE49-F238E27FC236}">
                      <a16:creationId xmlns:a16="http://schemas.microsoft.com/office/drawing/2014/main" id="{F88428BB-E988-EE1D-7B4A-A2175BCC689A}"/>
                    </a:ext>
                  </a:extLst>
                </p:cNvPr>
                <p:cNvSpPr/>
                <p:nvPr/>
              </p:nvSpPr>
              <p:spPr>
                <a:xfrm>
                  <a:off x="6644639" y="1199197"/>
                  <a:ext cx="419100" cy="419099"/>
                </a:xfrm>
                <a:custGeom>
                  <a:avLst/>
                  <a:gdLst>
                    <a:gd name="connsiteX0" fmla="*/ 419100 w 419100"/>
                    <a:gd name="connsiteY0" fmla="*/ 209550 h 419099"/>
                    <a:gd name="connsiteX1" fmla="*/ 209550 w 419100"/>
                    <a:gd name="connsiteY1" fmla="*/ 419100 h 419099"/>
                    <a:gd name="connsiteX2" fmla="*/ 0 w 419100"/>
                    <a:gd name="connsiteY2" fmla="*/ 209550 h 419099"/>
                    <a:gd name="connsiteX3" fmla="*/ 209550 w 419100"/>
                    <a:gd name="connsiteY3" fmla="*/ 0 h 419099"/>
                    <a:gd name="connsiteX4" fmla="*/ 419100 w 419100"/>
                    <a:gd name="connsiteY4" fmla="*/ 209550 h 419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9100" h="419099">
                      <a:moveTo>
                        <a:pt x="419100" y="209550"/>
                      </a:moveTo>
                      <a:cubicBezTo>
                        <a:pt x="419100" y="325755"/>
                        <a:pt x="324803" y="419100"/>
                        <a:pt x="209550" y="419100"/>
                      </a:cubicBezTo>
                      <a:cubicBezTo>
                        <a:pt x="93345" y="419100"/>
                        <a:pt x="0" y="324803"/>
                        <a:pt x="0" y="209550"/>
                      </a:cubicBezTo>
                      <a:cubicBezTo>
                        <a:pt x="0" y="93345"/>
                        <a:pt x="94297" y="0"/>
                        <a:pt x="209550" y="0"/>
                      </a:cubicBezTo>
                      <a:cubicBezTo>
                        <a:pt x="325755" y="0"/>
                        <a:pt x="419100" y="94298"/>
                        <a:pt x="419100" y="20955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8" name="任意多边形 179">
                  <a:extLst>
                    <a:ext uri="{FF2B5EF4-FFF2-40B4-BE49-F238E27FC236}">
                      <a16:creationId xmlns:a16="http://schemas.microsoft.com/office/drawing/2014/main" id="{9554263F-2169-A2E2-EBCA-EAB998EBDB03}"/>
                    </a:ext>
                  </a:extLst>
                </p:cNvPr>
                <p:cNvSpPr/>
                <p:nvPr/>
              </p:nvSpPr>
              <p:spPr>
                <a:xfrm>
                  <a:off x="5653087" y="1349692"/>
                  <a:ext cx="499109" cy="499110"/>
                </a:xfrm>
                <a:custGeom>
                  <a:avLst/>
                  <a:gdLst>
                    <a:gd name="connsiteX0" fmla="*/ 499110 w 499109"/>
                    <a:gd name="connsiteY0" fmla="*/ 249555 h 499110"/>
                    <a:gd name="connsiteX1" fmla="*/ 249555 w 499109"/>
                    <a:gd name="connsiteY1" fmla="*/ 499110 h 499110"/>
                    <a:gd name="connsiteX2" fmla="*/ 0 w 499109"/>
                    <a:gd name="connsiteY2" fmla="*/ 249555 h 499110"/>
                    <a:gd name="connsiteX3" fmla="*/ 249555 w 499109"/>
                    <a:gd name="connsiteY3" fmla="*/ 0 h 499110"/>
                    <a:gd name="connsiteX4" fmla="*/ 499110 w 499109"/>
                    <a:gd name="connsiteY4" fmla="*/ 249555 h 499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9109" h="499110">
                      <a:moveTo>
                        <a:pt x="499110" y="249555"/>
                      </a:moveTo>
                      <a:cubicBezTo>
                        <a:pt x="499110" y="387667"/>
                        <a:pt x="387668" y="499110"/>
                        <a:pt x="249555" y="499110"/>
                      </a:cubicBezTo>
                      <a:cubicBezTo>
                        <a:pt x="111443" y="499110"/>
                        <a:pt x="0" y="387667"/>
                        <a:pt x="0" y="249555"/>
                      </a:cubicBezTo>
                      <a:cubicBezTo>
                        <a:pt x="0" y="111442"/>
                        <a:pt x="111443" y="0"/>
                        <a:pt x="249555" y="0"/>
                      </a:cubicBezTo>
                      <a:cubicBezTo>
                        <a:pt x="386715" y="0"/>
                        <a:pt x="499110" y="111442"/>
                        <a:pt x="499110" y="249555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00FFA798-9BCA-0061-7C06-5D5DB71C5A46}"/>
                </a:ext>
              </a:extLst>
            </p:cNvPr>
            <p:cNvGrpSpPr/>
            <p:nvPr/>
          </p:nvGrpSpPr>
          <p:grpSpPr>
            <a:xfrm>
              <a:off x="3252047" y="2196916"/>
              <a:ext cx="995191" cy="2508433"/>
              <a:chOff x="3216962" y="264294"/>
              <a:chExt cx="995191" cy="2508433"/>
            </a:xfrm>
          </p:grpSpPr>
          <p:sp>
            <p:nvSpPr>
              <p:cNvPr id="56" name="任意多边形 183">
                <a:extLst>
                  <a:ext uri="{FF2B5EF4-FFF2-40B4-BE49-F238E27FC236}">
                    <a16:creationId xmlns:a16="http://schemas.microsoft.com/office/drawing/2014/main" id="{8D36E804-2426-3841-ADF6-A82977FC7192}"/>
                  </a:ext>
                </a:extLst>
              </p:cNvPr>
              <p:cNvSpPr/>
              <p:nvPr/>
            </p:nvSpPr>
            <p:spPr>
              <a:xfrm>
                <a:off x="3281110" y="264294"/>
                <a:ext cx="868010" cy="2011450"/>
              </a:xfrm>
              <a:custGeom>
                <a:avLst/>
                <a:gdLst>
                  <a:gd name="connsiteX0" fmla="*/ 526032 w 868010"/>
                  <a:gd name="connsiteY0" fmla="*/ 1999798 h 2011450"/>
                  <a:gd name="connsiteX1" fmla="*/ 838452 w 868010"/>
                  <a:gd name="connsiteY1" fmla="*/ 1649278 h 2011450"/>
                  <a:gd name="connsiteX2" fmla="*/ 768919 w 868010"/>
                  <a:gd name="connsiteY2" fmla="*/ 172903 h 2011450"/>
                  <a:gd name="connsiteX3" fmla="*/ 105979 w 868010"/>
                  <a:gd name="connsiteY3" fmla="*/ 97656 h 2011450"/>
                  <a:gd name="connsiteX4" fmla="*/ 35495 w 868010"/>
                  <a:gd name="connsiteY4" fmla="*/ 1321618 h 2011450"/>
                  <a:gd name="connsiteX5" fmla="*/ 526032 w 868010"/>
                  <a:gd name="connsiteY5" fmla="*/ 1999798 h 201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8010" h="2011450">
                    <a:moveTo>
                      <a:pt x="526032" y="1999798"/>
                    </a:moveTo>
                    <a:cubicBezTo>
                      <a:pt x="643190" y="1975033"/>
                      <a:pt x="826069" y="1932171"/>
                      <a:pt x="838452" y="1649278"/>
                    </a:cubicBezTo>
                    <a:cubicBezTo>
                      <a:pt x="850835" y="1367338"/>
                      <a:pt x="927987" y="352926"/>
                      <a:pt x="768919" y="172903"/>
                    </a:cubicBezTo>
                    <a:cubicBezTo>
                      <a:pt x="609852" y="-8072"/>
                      <a:pt x="305052" y="-69032"/>
                      <a:pt x="105979" y="97656"/>
                    </a:cubicBezTo>
                    <a:cubicBezTo>
                      <a:pt x="-93093" y="263391"/>
                      <a:pt x="52639" y="1125403"/>
                      <a:pt x="35495" y="1321618"/>
                    </a:cubicBezTo>
                    <a:cubicBezTo>
                      <a:pt x="17397" y="1517833"/>
                      <a:pt x="42162" y="2100763"/>
                      <a:pt x="526032" y="19997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 184">
                <a:extLst>
                  <a:ext uri="{FF2B5EF4-FFF2-40B4-BE49-F238E27FC236}">
                    <a16:creationId xmlns:a16="http://schemas.microsoft.com/office/drawing/2014/main" id="{5106A0EA-896B-CB77-B61C-7671FAC5E0C1}"/>
                  </a:ext>
                </a:extLst>
              </p:cNvPr>
              <p:cNvSpPr/>
              <p:nvPr/>
            </p:nvSpPr>
            <p:spPr>
              <a:xfrm>
                <a:off x="3702315" y="1480537"/>
                <a:ext cx="489368" cy="580319"/>
              </a:xfrm>
              <a:custGeom>
                <a:avLst/>
                <a:gdLst>
                  <a:gd name="connsiteX0" fmla="*/ 230556 w 489368"/>
                  <a:gd name="connsiteY0" fmla="*/ 579720 h 580319"/>
                  <a:gd name="connsiteX1" fmla="*/ 462966 w 489368"/>
                  <a:gd name="connsiteY1" fmla="*/ 432083 h 580319"/>
                  <a:gd name="connsiteX2" fmla="*/ 380099 w 489368"/>
                  <a:gd name="connsiteY2" fmla="*/ 32985 h 580319"/>
                  <a:gd name="connsiteX3" fmla="*/ 21006 w 489368"/>
                  <a:gd name="connsiteY3" fmla="*/ 136808 h 580319"/>
                  <a:gd name="connsiteX4" fmla="*/ 230556 w 489368"/>
                  <a:gd name="connsiteY4" fmla="*/ 579720 h 580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9368" h="580319">
                    <a:moveTo>
                      <a:pt x="230556" y="579720"/>
                    </a:moveTo>
                    <a:cubicBezTo>
                      <a:pt x="335331" y="573053"/>
                      <a:pt x="423914" y="542573"/>
                      <a:pt x="462966" y="432083"/>
                    </a:cubicBezTo>
                    <a:cubicBezTo>
                      <a:pt x="502019" y="321593"/>
                      <a:pt x="514401" y="113948"/>
                      <a:pt x="380099" y="32985"/>
                    </a:cubicBezTo>
                    <a:cubicBezTo>
                      <a:pt x="246749" y="-47977"/>
                      <a:pt x="58154" y="32985"/>
                      <a:pt x="21006" y="136808"/>
                    </a:cubicBezTo>
                    <a:cubicBezTo>
                      <a:pt x="-16141" y="241583"/>
                      <a:pt x="-33286" y="596865"/>
                      <a:pt x="230556" y="57972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 185">
                <a:extLst>
                  <a:ext uri="{FF2B5EF4-FFF2-40B4-BE49-F238E27FC236}">
                    <a16:creationId xmlns:a16="http://schemas.microsoft.com/office/drawing/2014/main" id="{0B8BD6D3-84C7-8C25-A59F-75891DBCFFBB}"/>
                  </a:ext>
                </a:extLst>
              </p:cNvPr>
              <p:cNvSpPr/>
              <p:nvPr/>
            </p:nvSpPr>
            <p:spPr>
              <a:xfrm>
                <a:off x="3653789" y="948689"/>
                <a:ext cx="150495" cy="1824037"/>
              </a:xfrm>
              <a:custGeom>
                <a:avLst/>
                <a:gdLst>
                  <a:gd name="connsiteX0" fmla="*/ 150495 w 150495"/>
                  <a:gd name="connsiteY0" fmla="*/ 1824038 h 1824037"/>
                  <a:gd name="connsiteX1" fmla="*/ 0 w 150495"/>
                  <a:gd name="connsiteY1" fmla="*/ 1824038 h 1824037"/>
                  <a:gd name="connsiteX2" fmla="*/ 51435 w 150495"/>
                  <a:gd name="connsiteY2" fmla="*/ 0 h 1824037"/>
                  <a:gd name="connsiteX3" fmla="*/ 99060 w 150495"/>
                  <a:gd name="connsiteY3" fmla="*/ 0 h 1824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495" h="1824037">
                    <a:moveTo>
                      <a:pt x="150495" y="1824038"/>
                    </a:moveTo>
                    <a:lnTo>
                      <a:pt x="0" y="1824038"/>
                    </a:lnTo>
                    <a:lnTo>
                      <a:pt x="51435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 186">
                <a:extLst>
                  <a:ext uri="{FF2B5EF4-FFF2-40B4-BE49-F238E27FC236}">
                    <a16:creationId xmlns:a16="http://schemas.microsoft.com/office/drawing/2014/main" id="{325AA8C7-F6B9-38DC-6F55-3175003A4918}"/>
                  </a:ext>
                </a:extLst>
              </p:cNvPr>
              <p:cNvSpPr/>
              <p:nvPr/>
            </p:nvSpPr>
            <p:spPr>
              <a:xfrm>
                <a:off x="3443804" y="838200"/>
                <a:ext cx="284279" cy="289560"/>
              </a:xfrm>
              <a:custGeom>
                <a:avLst/>
                <a:gdLst>
                  <a:gd name="connsiteX0" fmla="*/ 284280 w 284279"/>
                  <a:gd name="connsiteY0" fmla="*/ 235267 h 289560"/>
                  <a:gd name="connsiteX1" fmla="*/ 64252 w 284279"/>
                  <a:gd name="connsiteY1" fmla="*/ 0 h 289560"/>
                  <a:gd name="connsiteX2" fmla="*/ 435 w 284279"/>
                  <a:gd name="connsiteY2" fmla="*/ 20002 h 289560"/>
                  <a:gd name="connsiteX3" fmla="*/ 281422 w 284279"/>
                  <a:gd name="connsiteY3" fmla="*/ 289560 h 289560"/>
                  <a:gd name="connsiteX4" fmla="*/ 284280 w 284279"/>
                  <a:gd name="connsiteY4" fmla="*/ 235267 h 289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60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 187">
                <a:extLst>
                  <a:ext uri="{FF2B5EF4-FFF2-40B4-BE49-F238E27FC236}">
                    <a16:creationId xmlns:a16="http://schemas.microsoft.com/office/drawing/2014/main" id="{DC3531B5-95DF-0E14-CD45-BF50ECF0C337}"/>
                  </a:ext>
                </a:extLst>
              </p:cNvPr>
              <p:cNvSpPr/>
              <p:nvPr/>
            </p:nvSpPr>
            <p:spPr>
              <a:xfrm>
                <a:off x="3443804" y="1560195"/>
                <a:ext cx="284279" cy="289559"/>
              </a:xfrm>
              <a:custGeom>
                <a:avLst/>
                <a:gdLst>
                  <a:gd name="connsiteX0" fmla="*/ 284280 w 284279"/>
                  <a:gd name="connsiteY0" fmla="*/ 235267 h 289559"/>
                  <a:gd name="connsiteX1" fmla="*/ 64252 w 284279"/>
                  <a:gd name="connsiteY1" fmla="*/ 0 h 289559"/>
                  <a:gd name="connsiteX2" fmla="*/ 435 w 284279"/>
                  <a:gd name="connsiteY2" fmla="*/ 20002 h 289559"/>
                  <a:gd name="connsiteX3" fmla="*/ 281422 w 284279"/>
                  <a:gd name="connsiteY3" fmla="*/ 289560 h 289559"/>
                  <a:gd name="connsiteX4" fmla="*/ 284280 w 284279"/>
                  <a:gd name="connsiteY4" fmla="*/ 235267 h 289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59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 188">
                <a:extLst>
                  <a:ext uri="{FF2B5EF4-FFF2-40B4-BE49-F238E27FC236}">
                    <a16:creationId xmlns:a16="http://schemas.microsoft.com/office/drawing/2014/main" id="{E2A4489C-D121-070F-FF5E-0A9986841204}"/>
                  </a:ext>
                </a:extLst>
              </p:cNvPr>
              <p:cNvSpPr/>
              <p:nvPr/>
            </p:nvSpPr>
            <p:spPr>
              <a:xfrm>
                <a:off x="3724274" y="1116329"/>
                <a:ext cx="317182" cy="255270"/>
              </a:xfrm>
              <a:custGeom>
                <a:avLst/>
                <a:gdLst>
                  <a:gd name="connsiteX0" fmla="*/ 5715 w 317182"/>
                  <a:gd name="connsiteY0" fmla="*/ 200978 h 255270"/>
                  <a:gd name="connsiteX1" fmla="*/ 257175 w 317182"/>
                  <a:gd name="connsiteY1" fmla="*/ 0 h 255270"/>
                  <a:gd name="connsiteX2" fmla="*/ 317183 w 317182"/>
                  <a:gd name="connsiteY2" fmla="*/ 29528 h 255270"/>
                  <a:gd name="connsiteX3" fmla="*/ 0 w 317182"/>
                  <a:gd name="connsiteY3" fmla="*/ 255270 h 255270"/>
                  <a:gd name="connsiteX4" fmla="*/ 5715 w 317182"/>
                  <a:gd name="connsiteY4" fmla="*/ 200978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7182" h="255270">
                    <a:moveTo>
                      <a:pt x="5715" y="200978"/>
                    </a:moveTo>
                    <a:cubicBezTo>
                      <a:pt x="5715" y="200978"/>
                      <a:pt x="255270" y="248603"/>
                      <a:pt x="257175" y="0"/>
                    </a:cubicBezTo>
                    <a:lnTo>
                      <a:pt x="317183" y="29528"/>
                    </a:lnTo>
                    <a:cubicBezTo>
                      <a:pt x="317183" y="29528"/>
                      <a:pt x="308610" y="252413"/>
                      <a:pt x="0" y="255270"/>
                    </a:cubicBezTo>
                    <a:lnTo>
                      <a:pt x="5715" y="2009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 189">
                <a:extLst>
                  <a:ext uri="{FF2B5EF4-FFF2-40B4-BE49-F238E27FC236}">
                    <a16:creationId xmlns:a16="http://schemas.microsoft.com/office/drawing/2014/main" id="{9229FADB-D29B-0DB3-F276-1F3E7CB4E967}"/>
                  </a:ext>
                </a:extLst>
              </p:cNvPr>
              <p:cNvSpPr/>
              <p:nvPr/>
            </p:nvSpPr>
            <p:spPr>
              <a:xfrm>
                <a:off x="3741419" y="1302067"/>
                <a:ext cx="199239" cy="294322"/>
              </a:xfrm>
              <a:custGeom>
                <a:avLst/>
                <a:gdLst>
                  <a:gd name="connsiteX0" fmla="*/ 0 w 199239"/>
                  <a:gd name="connsiteY0" fmla="*/ 239078 h 294322"/>
                  <a:gd name="connsiteX1" fmla="*/ 155257 w 199239"/>
                  <a:gd name="connsiteY1" fmla="*/ 953 h 294322"/>
                  <a:gd name="connsiteX2" fmla="*/ 199072 w 199239"/>
                  <a:gd name="connsiteY2" fmla="*/ 0 h 294322"/>
                  <a:gd name="connsiteX3" fmla="*/ 952 w 199239"/>
                  <a:gd name="connsiteY3" fmla="*/ 294323 h 294322"/>
                  <a:gd name="connsiteX4" fmla="*/ 0 w 199239"/>
                  <a:gd name="connsiteY4" fmla="*/ 239078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8"/>
                    </a:moveTo>
                    <a:cubicBezTo>
                      <a:pt x="0" y="239078"/>
                      <a:pt x="175260" y="245745"/>
                      <a:pt x="155257" y="953"/>
                    </a:cubicBezTo>
                    <a:lnTo>
                      <a:pt x="199072" y="0"/>
                    </a:lnTo>
                    <a:cubicBezTo>
                      <a:pt x="199072" y="0"/>
                      <a:pt x="212408" y="240983"/>
                      <a:pt x="952" y="294323"/>
                    </a:cubicBezTo>
                    <a:lnTo>
                      <a:pt x="0" y="2390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 190">
                <a:extLst>
                  <a:ext uri="{FF2B5EF4-FFF2-40B4-BE49-F238E27FC236}">
                    <a16:creationId xmlns:a16="http://schemas.microsoft.com/office/drawing/2014/main" id="{11D83712-0150-A116-DB7E-DA13F85EFA2F}"/>
                  </a:ext>
                </a:extLst>
              </p:cNvPr>
              <p:cNvSpPr/>
              <p:nvPr/>
            </p:nvSpPr>
            <p:spPr>
              <a:xfrm>
                <a:off x="3741419" y="1663065"/>
                <a:ext cx="199239" cy="294322"/>
              </a:xfrm>
              <a:custGeom>
                <a:avLst/>
                <a:gdLst>
                  <a:gd name="connsiteX0" fmla="*/ 0 w 199239"/>
                  <a:gd name="connsiteY0" fmla="*/ 239077 h 294322"/>
                  <a:gd name="connsiteX1" fmla="*/ 155257 w 199239"/>
                  <a:gd name="connsiteY1" fmla="*/ 952 h 294322"/>
                  <a:gd name="connsiteX2" fmla="*/ 199072 w 199239"/>
                  <a:gd name="connsiteY2" fmla="*/ 0 h 294322"/>
                  <a:gd name="connsiteX3" fmla="*/ 952 w 199239"/>
                  <a:gd name="connsiteY3" fmla="*/ 294322 h 294322"/>
                  <a:gd name="connsiteX4" fmla="*/ 0 w 199239"/>
                  <a:gd name="connsiteY4" fmla="*/ 239077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7"/>
                    </a:moveTo>
                    <a:cubicBezTo>
                      <a:pt x="0" y="239077"/>
                      <a:pt x="175260" y="245745"/>
                      <a:pt x="155257" y="952"/>
                    </a:cubicBezTo>
                    <a:lnTo>
                      <a:pt x="199072" y="0"/>
                    </a:lnTo>
                    <a:cubicBezTo>
                      <a:pt x="199072" y="0"/>
                      <a:pt x="212408" y="240982"/>
                      <a:pt x="952" y="294322"/>
                    </a:cubicBezTo>
                    <a:lnTo>
                      <a:pt x="0" y="23907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 191">
                <a:extLst>
                  <a:ext uri="{FF2B5EF4-FFF2-40B4-BE49-F238E27FC236}">
                    <a16:creationId xmlns:a16="http://schemas.microsoft.com/office/drawing/2014/main" id="{D99E69D0-B8F3-69B6-3CD2-EE0473C2DAF1}"/>
                  </a:ext>
                </a:extLst>
              </p:cNvPr>
              <p:cNvSpPr/>
              <p:nvPr/>
            </p:nvSpPr>
            <p:spPr>
              <a:xfrm>
                <a:off x="3216962" y="326204"/>
                <a:ext cx="488947" cy="660283"/>
              </a:xfrm>
              <a:custGeom>
                <a:avLst/>
                <a:gdLst>
                  <a:gd name="connsiteX0" fmla="*/ 230135 w 488947"/>
                  <a:gd name="connsiteY0" fmla="*/ 659633 h 660283"/>
                  <a:gd name="connsiteX1" fmla="*/ 462545 w 488947"/>
                  <a:gd name="connsiteY1" fmla="*/ 491993 h 660283"/>
                  <a:gd name="connsiteX2" fmla="*/ 379677 w 488947"/>
                  <a:gd name="connsiteY2" fmla="*/ 37650 h 660283"/>
                  <a:gd name="connsiteX3" fmla="*/ 20585 w 488947"/>
                  <a:gd name="connsiteY3" fmla="*/ 155760 h 660283"/>
                  <a:gd name="connsiteX4" fmla="*/ 230135 w 488947"/>
                  <a:gd name="connsiteY4" fmla="*/ 659633 h 660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8947" h="660283">
                    <a:moveTo>
                      <a:pt x="230135" y="659633"/>
                    </a:moveTo>
                    <a:cubicBezTo>
                      <a:pt x="334910" y="652013"/>
                      <a:pt x="423492" y="617723"/>
                      <a:pt x="462545" y="491993"/>
                    </a:cubicBezTo>
                    <a:cubicBezTo>
                      <a:pt x="501597" y="366263"/>
                      <a:pt x="513980" y="130043"/>
                      <a:pt x="379677" y="37650"/>
                    </a:cubicBezTo>
                    <a:cubicBezTo>
                      <a:pt x="246327" y="-54742"/>
                      <a:pt x="57732" y="37650"/>
                      <a:pt x="20585" y="155760"/>
                    </a:cubicBezTo>
                    <a:cubicBezTo>
                      <a:pt x="-15610" y="273870"/>
                      <a:pt x="-33708" y="678683"/>
                      <a:pt x="230135" y="659633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 192">
                <a:extLst>
                  <a:ext uri="{FF2B5EF4-FFF2-40B4-BE49-F238E27FC236}">
                    <a16:creationId xmlns:a16="http://schemas.microsoft.com/office/drawing/2014/main" id="{D602609B-977C-4AB2-CAB6-1BFD6928C0B2}"/>
                  </a:ext>
                </a:extLst>
              </p:cNvPr>
              <p:cNvSpPr/>
              <p:nvPr/>
            </p:nvSpPr>
            <p:spPr>
              <a:xfrm>
                <a:off x="3871574" y="708915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 193">
                <a:extLst>
                  <a:ext uri="{FF2B5EF4-FFF2-40B4-BE49-F238E27FC236}">
                    <a16:creationId xmlns:a16="http://schemas.microsoft.com/office/drawing/2014/main" id="{54675573-AB2E-3D63-7C15-B0303F1B20F6}"/>
                  </a:ext>
                </a:extLst>
              </p:cNvPr>
              <p:cNvSpPr/>
              <p:nvPr/>
            </p:nvSpPr>
            <p:spPr>
              <a:xfrm>
                <a:off x="3242924" y="1171830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68641011-B90A-E089-4277-1269FB7D09E0}"/>
                </a:ext>
              </a:extLst>
            </p:cNvPr>
            <p:cNvGrpSpPr/>
            <p:nvPr/>
          </p:nvGrpSpPr>
          <p:grpSpPr>
            <a:xfrm>
              <a:off x="4118451" y="4450079"/>
              <a:ext cx="707707" cy="256222"/>
              <a:chOff x="4083366" y="2517457"/>
              <a:chExt cx="707707" cy="256222"/>
            </a:xfrm>
          </p:grpSpPr>
          <p:sp>
            <p:nvSpPr>
              <p:cNvPr id="52" name="任意多边形 196">
                <a:extLst>
                  <a:ext uri="{FF2B5EF4-FFF2-40B4-BE49-F238E27FC236}">
                    <a16:creationId xmlns:a16="http://schemas.microsoft.com/office/drawing/2014/main" id="{D5154B23-8E67-3DEE-4A42-B663068245B9}"/>
                  </a:ext>
                </a:extLst>
              </p:cNvPr>
              <p:cNvSpPr/>
              <p:nvPr/>
            </p:nvSpPr>
            <p:spPr>
              <a:xfrm>
                <a:off x="4195762" y="2517457"/>
                <a:ext cx="510540" cy="255270"/>
              </a:xfrm>
              <a:custGeom>
                <a:avLst/>
                <a:gdLst>
                  <a:gd name="connsiteX0" fmla="*/ 255270 w 510540"/>
                  <a:gd name="connsiteY0" fmla="*/ 0 h 255270"/>
                  <a:gd name="connsiteX1" fmla="*/ 0 w 510540"/>
                  <a:gd name="connsiteY1" fmla="*/ 255270 h 255270"/>
                  <a:gd name="connsiteX2" fmla="*/ 510540 w 510540"/>
                  <a:gd name="connsiteY2" fmla="*/ 255270 h 255270"/>
                  <a:gd name="connsiteX3" fmla="*/ 255270 w 510540"/>
                  <a:gd name="connsiteY3" fmla="*/ 0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0540" h="255270">
                    <a:moveTo>
                      <a:pt x="255270" y="0"/>
                    </a:moveTo>
                    <a:cubicBezTo>
                      <a:pt x="114300" y="0"/>
                      <a:pt x="0" y="114300"/>
                      <a:pt x="0" y="255270"/>
                    </a:cubicBezTo>
                    <a:lnTo>
                      <a:pt x="510540" y="255270"/>
                    </a:lnTo>
                    <a:cubicBezTo>
                      <a:pt x="510540" y="114300"/>
                      <a:pt x="396240" y="0"/>
                      <a:pt x="255270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 197">
                <a:extLst>
                  <a:ext uri="{FF2B5EF4-FFF2-40B4-BE49-F238E27FC236}">
                    <a16:creationId xmlns:a16="http://schemas.microsoft.com/office/drawing/2014/main" id="{8AD2BD82-209E-26BD-0B77-846320860A18}"/>
                  </a:ext>
                </a:extLst>
              </p:cNvPr>
              <p:cNvSpPr/>
              <p:nvPr/>
            </p:nvSpPr>
            <p:spPr>
              <a:xfrm>
                <a:off x="4083366" y="2619375"/>
                <a:ext cx="307657" cy="154305"/>
              </a:xfrm>
              <a:custGeom>
                <a:avLst/>
                <a:gdLst>
                  <a:gd name="connsiteX0" fmla="*/ 154305 w 307657"/>
                  <a:gd name="connsiteY0" fmla="*/ 0 h 154305"/>
                  <a:gd name="connsiteX1" fmla="*/ 0 w 307657"/>
                  <a:gd name="connsiteY1" fmla="*/ 154305 h 154305"/>
                  <a:gd name="connsiteX2" fmla="*/ 307658 w 307657"/>
                  <a:gd name="connsiteY2" fmla="*/ 154305 h 154305"/>
                  <a:gd name="connsiteX3" fmla="*/ 154305 w 307657"/>
                  <a:gd name="connsiteY3" fmla="*/ 0 h 154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7657" h="154305">
                    <a:moveTo>
                      <a:pt x="154305" y="0"/>
                    </a:moveTo>
                    <a:cubicBezTo>
                      <a:pt x="69533" y="0"/>
                      <a:pt x="0" y="68580"/>
                      <a:pt x="0" y="154305"/>
                    </a:cubicBezTo>
                    <a:lnTo>
                      <a:pt x="307658" y="154305"/>
                    </a:lnTo>
                    <a:cubicBezTo>
                      <a:pt x="307658" y="68580"/>
                      <a:pt x="239078" y="0"/>
                      <a:pt x="15430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 198">
                <a:extLst>
                  <a:ext uri="{FF2B5EF4-FFF2-40B4-BE49-F238E27FC236}">
                    <a16:creationId xmlns:a16="http://schemas.microsoft.com/office/drawing/2014/main" id="{18F16F46-2591-921D-7C7B-CDECA985F903}"/>
                  </a:ext>
                </a:extLst>
              </p:cNvPr>
              <p:cNvSpPr/>
              <p:nvPr/>
            </p:nvSpPr>
            <p:spPr>
              <a:xfrm>
                <a:off x="4277677" y="2664142"/>
                <a:ext cx="217169" cy="108584"/>
              </a:xfrm>
              <a:custGeom>
                <a:avLst/>
                <a:gdLst>
                  <a:gd name="connsiteX0" fmla="*/ 108585 w 217169"/>
                  <a:gd name="connsiteY0" fmla="*/ 0 h 108584"/>
                  <a:gd name="connsiteX1" fmla="*/ 0 w 217169"/>
                  <a:gd name="connsiteY1" fmla="*/ 108585 h 108584"/>
                  <a:gd name="connsiteX2" fmla="*/ 217170 w 217169"/>
                  <a:gd name="connsiteY2" fmla="*/ 108585 h 108584"/>
                  <a:gd name="connsiteX3" fmla="*/ 108585 w 217169"/>
                  <a:gd name="connsiteY3" fmla="*/ 0 h 108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7169" h="108584">
                    <a:moveTo>
                      <a:pt x="108585" y="0"/>
                    </a:moveTo>
                    <a:cubicBezTo>
                      <a:pt x="48577" y="0"/>
                      <a:pt x="0" y="48577"/>
                      <a:pt x="0" y="108585"/>
                    </a:cubicBezTo>
                    <a:lnTo>
                      <a:pt x="217170" y="108585"/>
                    </a:lnTo>
                    <a:cubicBezTo>
                      <a:pt x="217170" y="48577"/>
                      <a:pt x="168592" y="0"/>
                      <a:pt x="10858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 199">
                <a:extLst>
                  <a:ext uri="{FF2B5EF4-FFF2-40B4-BE49-F238E27FC236}">
                    <a16:creationId xmlns:a16="http://schemas.microsoft.com/office/drawing/2014/main" id="{1CA7C18D-A455-0A92-D20E-401FCB3EF342}"/>
                  </a:ext>
                </a:extLst>
              </p:cNvPr>
              <p:cNvSpPr/>
              <p:nvPr/>
            </p:nvSpPr>
            <p:spPr>
              <a:xfrm>
                <a:off x="4589144" y="2671762"/>
                <a:ext cx="201929" cy="100965"/>
              </a:xfrm>
              <a:custGeom>
                <a:avLst/>
                <a:gdLst>
                  <a:gd name="connsiteX0" fmla="*/ 100965 w 201929"/>
                  <a:gd name="connsiteY0" fmla="*/ 0 h 100965"/>
                  <a:gd name="connsiteX1" fmla="*/ 0 w 201929"/>
                  <a:gd name="connsiteY1" fmla="*/ 100965 h 100965"/>
                  <a:gd name="connsiteX2" fmla="*/ 201930 w 201929"/>
                  <a:gd name="connsiteY2" fmla="*/ 100965 h 100965"/>
                  <a:gd name="connsiteX3" fmla="*/ 100965 w 201929"/>
                  <a:gd name="connsiteY3" fmla="*/ 0 h 100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1929" h="100965">
                    <a:moveTo>
                      <a:pt x="100965" y="0"/>
                    </a:moveTo>
                    <a:cubicBezTo>
                      <a:pt x="45720" y="0"/>
                      <a:pt x="0" y="44768"/>
                      <a:pt x="0" y="100965"/>
                    </a:cubicBezTo>
                    <a:lnTo>
                      <a:pt x="201930" y="100965"/>
                    </a:lnTo>
                    <a:cubicBezTo>
                      <a:pt x="201930" y="45720"/>
                      <a:pt x="157163" y="0"/>
                      <a:pt x="100965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1B1C0826-5D5E-A128-5F40-C8E6137DBFE7}"/>
                </a:ext>
              </a:extLst>
            </p:cNvPr>
            <p:cNvGrpSpPr/>
            <p:nvPr/>
          </p:nvGrpSpPr>
          <p:grpSpPr>
            <a:xfrm>
              <a:off x="7536022" y="4531994"/>
              <a:ext cx="482917" cy="174307"/>
              <a:chOff x="7500937" y="2599372"/>
              <a:chExt cx="482917" cy="174307"/>
            </a:xfrm>
          </p:grpSpPr>
          <p:sp>
            <p:nvSpPr>
              <p:cNvPr id="48" name="任意多边形 201">
                <a:extLst>
                  <a:ext uri="{FF2B5EF4-FFF2-40B4-BE49-F238E27FC236}">
                    <a16:creationId xmlns:a16="http://schemas.microsoft.com/office/drawing/2014/main" id="{C7BD3E5C-09D4-DE5F-FB57-B6BD984036C9}"/>
                  </a:ext>
                </a:extLst>
              </p:cNvPr>
              <p:cNvSpPr/>
              <p:nvPr/>
            </p:nvSpPr>
            <p:spPr>
              <a:xfrm>
                <a:off x="7578089" y="2599372"/>
                <a:ext cx="347662" cy="174307"/>
              </a:xfrm>
              <a:custGeom>
                <a:avLst/>
                <a:gdLst>
                  <a:gd name="connsiteX0" fmla="*/ 174308 w 347662"/>
                  <a:gd name="connsiteY0" fmla="*/ 0 h 174307"/>
                  <a:gd name="connsiteX1" fmla="*/ 0 w 347662"/>
                  <a:gd name="connsiteY1" fmla="*/ 174308 h 174307"/>
                  <a:gd name="connsiteX2" fmla="*/ 347662 w 347662"/>
                  <a:gd name="connsiteY2" fmla="*/ 174308 h 174307"/>
                  <a:gd name="connsiteX3" fmla="*/ 174308 w 347662"/>
                  <a:gd name="connsiteY3" fmla="*/ 0 h 17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7662" h="174307">
                    <a:moveTo>
                      <a:pt x="174308" y="0"/>
                    </a:moveTo>
                    <a:cubicBezTo>
                      <a:pt x="78105" y="0"/>
                      <a:pt x="0" y="78105"/>
                      <a:pt x="0" y="174308"/>
                    </a:cubicBezTo>
                    <a:lnTo>
                      <a:pt x="347662" y="174308"/>
                    </a:lnTo>
                    <a:cubicBezTo>
                      <a:pt x="347662" y="77153"/>
                      <a:pt x="269558" y="0"/>
                      <a:pt x="174308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 202">
                <a:extLst>
                  <a:ext uri="{FF2B5EF4-FFF2-40B4-BE49-F238E27FC236}">
                    <a16:creationId xmlns:a16="http://schemas.microsoft.com/office/drawing/2014/main" id="{9DBED9F7-2C50-C805-A540-3BCF6AEAA3C8}"/>
                  </a:ext>
                </a:extLst>
              </p:cNvPr>
              <p:cNvSpPr/>
              <p:nvPr/>
            </p:nvSpPr>
            <p:spPr>
              <a:xfrm>
                <a:off x="7500937" y="2667952"/>
                <a:ext cx="209550" cy="104775"/>
              </a:xfrm>
              <a:custGeom>
                <a:avLst/>
                <a:gdLst>
                  <a:gd name="connsiteX0" fmla="*/ 104775 w 209550"/>
                  <a:gd name="connsiteY0" fmla="*/ 0 h 104775"/>
                  <a:gd name="connsiteX1" fmla="*/ 0 w 209550"/>
                  <a:gd name="connsiteY1" fmla="*/ 104775 h 104775"/>
                  <a:gd name="connsiteX2" fmla="*/ 209550 w 209550"/>
                  <a:gd name="connsiteY2" fmla="*/ 104775 h 104775"/>
                  <a:gd name="connsiteX3" fmla="*/ 104775 w 209550"/>
                  <a:gd name="connsiteY3" fmla="*/ 0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50" h="104775">
                    <a:moveTo>
                      <a:pt x="104775" y="0"/>
                    </a:moveTo>
                    <a:cubicBezTo>
                      <a:pt x="46672" y="0"/>
                      <a:pt x="0" y="46672"/>
                      <a:pt x="0" y="104775"/>
                    </a:cubicBezTo>
                    <a:lnTo>
                      <a:pt x="209550" y="104775"/>
                    </a:lnTo>
                    <a:cubicBezTo>
                      <a:pt x="209550" y="47625"/>
                      <a:pt x="162877" y="0"/>
                      <a:pt x="10477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 203">
                <a:extLst>
                  <a:ext uri="{FF2B5EF4-FFF2-40B4-BE49-F238E27FC236}">
                    <a16:creationId xmlns:a16="http://schemas.microsoft.com/office/drawing/2014/main" id="{2B325BF3-81FA-6DD5-779C-EA81A9AC21FF}"/>
                  </a:ext>
                </a:extLst>
              </p:cNvPr>
              <p:cNvSpPr/>
              <p:nvPr/>
            </p:nvSpPr>
            <p:spPr>
              <a:xfrm>
                <a:off x="7633334" y="2699384"/>
                <a:ext cx="147637" cy="74295"/>
              </a:xfrm>
              <a:custGeom>
                <a:avLst/>
                <a:gdLst>
                  <a:gd name="connsiteX0" fmla="*/ 74295 w 147637"/>
                  <a:gd name="connsiteY0" fmla="*/ 0 h 74295"/>
                  <a:gd name="connsiteX1" fmla="*/ 0 w 147637"/>
                  <a:gd name="connsiteY1" fmla="*/ 74295 h 74295"/>
                  <a:gd name="connsiteX2" fmla="*/ 147638 w 147637"/>
                  <a:gd name="connsiteY2" fmla="*/ 74295 h 74295"/>
                  <a:gd name="connsiteX3" fmla="*/ 74295 w 147637"/>
                  <a:gd name="connsiteY3" fmla="*/ 0 h 74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7637" h="74295">
                    <a:moveTo>
                      <a:pt x="74295" y="0"/>
                    </a:moveTo>
                    <a:cubicBezTo>
                      <a:pt x="33338" y="0"/>
                      <a:pt x="0" y="33338"/>
                      <a:pt x="0" y="74295"/>
                    </a:cubicBezTo>
                    <a:lnTo>
                      <a:pt x="147638" y="74295"/>
                    </a:lnTo>
                    <a:cubicBezTo>
                      <a:pt x="147638" y="32385"/>
                      <a:pt x="115252" y="0"/>
                      <a:pt x="7429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 204">
                <a:extLst>
                  <a:ext uri="{FF2B5EF4-FFF2-40B4-BE49-F238E27FC236}">
                    <a16:creationId xmlns:a16="http://schemas.microsoft.com/office/drawing/2014/main" id="{E0BABA65-48E6-E7A1-450A-524CECA5BAC8}"/>
                  </a:ext>
                </a:extLst>
              </p:cNvPr>
              <p:cNvSpPr/>
              <p:nvPr/>
            </p:nvSpPr>
            <p:spPr>
              <a:xfrm>
                <a:off x="7846694" y="2704147"/>
                <a:ext cx="137160" cy="68580"/>
              </a:xfrm>
              <a:custGeom>
                <a:avLst/>
                <a:gdLst>
                  <a:gd name="connsiteX0" fmla="*/ 68580 w 137160"/>
                  <a:gd name="connsiteY0" fmla="*/ 0 h 68580"/>
                  <a:gd name="connsiteX1" fmla="*/ 0 w 137160"/>
                  <a:gd name="connsiteY1" fmla="*/ 68580 h 68580"/>
                  <a:gd name="connsiteX2" fmla="*/ 137160 w 137160"/>
                  <a:gd name="connsiteY2" fmla="*/ 68580 h 68580"/>
                  <a:gd name="connsiteX3" fmla="*/ 68580 w 137160"/>
                  <a:gd name="connsiteY3" fmla="*/ 0 h 68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160" h="68580">
                    <a:moveTo>
                      <a:pt x="68580" y="0"/>
                    </a:moveTo>
                    <a:cubicBezTo>
                      <a:pt x="30480" y="0"/>
                      <a:pt x="0" y="30480"/>
                      <a:pt x="0" y="68580"/>
                    </a:cubicBezTo>
                    <a:lnTo>
                      <a:pt x="137160" y="68580"/>
                    </a:lnTo>
                    <a:cubicBezTo>
                      <a:pt x="137160" y="30480"/>
                      <a:pt x="105728" y="0"/>
                      <a:pt x="6858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7BEDED7B-3F8E-AC69-5F91-8EA761B82CC8}"/>
                </a:ext>
              </a:extLst>
            </p:cNvPr>
            <p:cNvGrpSpPr/>
            <p:nvPr/>
          </p:nvGrpSpPr>
          <p:grpSpPr>
            <a:xfrm>
              <a:off x="4761389" y="3611879"/>
              <a:ext cx="647700" cy="1093470"/>
              <a:chOff x="4726304" y="1679257"/>
              <a:chExt cx="647700" cy="1093470"/>
            </a:xfrm>
          </p:grpSpPr>
          <p:sp>
            <p:nvSpPr>
              <p:cNvPr id="44" name="任意多边形 207">
                <a:extLst>
                  <a:ext uri="{FF2B5EF4-FFF2-40B4-BE49-F238E27FC236}">
                    <a16:creationId xmlns:a16="http://schemas.microsoft.com/office/drawing/2014/main" id="{D9B5E869-10B7-2ED9-092E-CB5D30419FEC}"/>
                  </a:ext>
                </a:extLst>
              </p:cNvPr>
              <p:cNvSpPr/>
              <p:nvPr/>
            </p:nvSpPr>
            <p:spPr>
              <a:xfrm>
                <a:off x="5007291" y="2360295"/>
                <a:ext cx="85725" cy="412432"/>
              </a:xfrm>
              <a:custGeom>
                <a:avLst/>
                <a:gdLst>
                  <a:gd name="connsiteX0" fmla="*/ 0 w 85725"/>
                  <a:gd name="connsiteY0" fmla="*/ 412433 h 412432"/>
                  <a:gd name="connsiteX1" fmla="*/ 85725 w 85725"/>
                  <a:gd name="connsiteY1" fmla="*/ 412433 h 412432"/>
                  <a:gd name="connsiteX2" fmla="*/ 75248 w 85725"/>
                  <a:gd name="connsiteY2" fmla="*/ 0 h 412432"/>
                  <a:gd name="connsiteX3" fmla="*/ 15240 w 85725"/>
                  <a:gd name="connsiteY3" fmla="*/ 0 h 412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5" h="412432">
                    <a:moveTo>
                      <a:pt x="0" y="412433"/>
                    </a:moveTo>
                    <a:lnTo>
                      <a:pt x="85725" y="412433"/>
                    </a:lnTo>
                    <a:lnTo>
                      <a:pt x="75248" y="0"/>
                    </a:lnTo>
                    <a:lnTo>
                      <a:pt x="1524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 208">
                <a:extLst>
                  <a:ext uri="{FF2B5EF4-FFF2-40B4-BE49-F238E27FC236}">
                    <a16:creationId xmlns:a16="http://schemas.microsoft.com/office/drawing/2014/main" id="{7646E761-4204-F391-9DF2-B5626EA336AF}"/>
                  </a:ext>
                </a:extLst>
              </p:cNvPr>
              <p:cNvSpPr/>
              <p:nvPr/>
            </p:nvSpPr>
            <p:spPr>
              <a:xfrm>
                <a:off x="5028246" y="2368867"/>
                <a:ext cx="172031" cy="227647"/>
              </a:xfrm>
              <a:custGeom>
                <a:avLst/>
                <a:gdLst>
                  <a:gd name="connsiteX0" fmla="*/ 953 w 172031"/>
                  <a:gd name="connsiteY0" fmla="*/ 180023 h 227647"/>
                  <a:gd name="connsiteX1" fmla="*/ 125730 w 172031"/>
                  <a:gd name="connsiteY1" fmla="*/ 0 h 227647"/>
                  <a:gd name="connsiteX2" fmla="*/ 170497 w 172031"/>
                  <a:gd name="connsiteY2" fmla="*/ 7620 h 227647"/>
                  <a:gd name="connsiteX3" fmla="*/ 0 w 172031"/>
                  <a:gd name="connsiteY3" fmla="*/ 227648 h 227647"/>
                  <a:gd name="connsiteX4" fmla="*/ 953 w 172031"/>
                  <a:gd name="connsiteY4" fmla="*/ 180023 h 227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2031" h="227647">
                    <a:moveTo>
                      <a:pt x="953" y="180023"/>
                    </a:moveTo>
                    <a:cubicBezTo>
                      <a:pt x="953" y="180023"/>
                      <a:pt x="172403" y="161925"/>
                      <a:pt x="125730" y="0"/>
                    </a:cubicBezTo>
                    <a:lnTo>
                      <a:pt x="170497" y="7620"/>
                    </a:lnTo>
                    <a:cubicBezTo>
                      <a:pt x="170497" y="7620"/>
                      <a:pt x="200025" y="164783"/>
                      <a:pt x="0" y="227648"/>
                    </a:cubicBezTo>
                    <a:lnTo>
                      <a:pt x="953" y="180023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 209">
                <a:extLst>
                  <a:ext uri="{FF2B5EF4-FFF2-40B4-BE49-F238E27FC236}">
                    <a16:creationId xmlns:a16="http://schemas.microsoft.com/office/drawing/2014/main" id="{D08E45E5-B373-4CCC-461E-85D1EBFE28C0}"/>
                  </a:ext>
                </a:extLst>
              </p:cNvPr>
              <p:cNvSpPr/>
              <p:nvPr/>
            </p:nvSpPr>
            <p:spPr>
              <a:xfrm>
                <a:off x="4907258" y="2329815"/>
                <a:ext cx="142896" cy="184784"/>
              </a:xfrm>
              <a:custGeom>
                <a:avLst/>
                <a:gdLst>
                  <a:gd name="connsiteX0" fmla="*/ 36216 w 142896"/>
                  <a:gd name="connsiteY0" fmla="*/ 12382 h 184784"/>
                  <a:gd name="connsiteX1" fmla="*/ 142896 w 142896"/>
                  <a:gd name="connsiteY1" fmla="*/ 152400 h 184784"/>
                  <a:gd name="connsiteX2" fmla="*/ 125751 w 142896"/>
                  <a:gd name="connsiteY2" fmla="*/ 184785 h 184784"/>
                  <a:gd name="connsiteX3" fmla="*/ 21 w 142896"/>
                  <a:gd name="connsiteY3" fmla="*/ 0 h 184784"/>
                  <a:gd name="connsiteX4" fmla="*/ 36216 w 142896"/>
                  <a:gd name="connsiteY4" fmla="*/ 12382 h 184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896" h="184784">
                    <a:moveTo>
                      <a:pt x="36216" y="12382"/>
                    </a:moveTo>
                    <a:cubicBezTo>
                      <a:pt x="36216" y="12382"/>
                      <a:pt x="7641" y="148590"/>
                      <a:pt x="142896" y="152400"/>
                    </a:cubicBezTo>
                    <a:lnTo>
                      <a:pt x="125751" y="184785"/>
                    </a:lnTo>
                    <a:cubicBezTo>
                      <a:pt x="125751" y="184785"/>
                      <a:pt x="-1884" y="168592"/>
                      <a:pt x="21" y="0"/>
                    </a:cubicBezTo>
                    <a:lnTo>
                      <a:pt x="36216" y="12382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 210">
                <a:extLst>
                  <a:ext uri="{FF2B5EF4-FFF2-40B4-BE49-F238E27FC236}">
                    <a16:creationId xmlns:a16="http://schemas.microsoft.com/office/drawing/2014/main" id="{51855C90-C88F-7A58-6DC6-674CB5B7690C}"/>
                  </a:ext>
                </a:extLst>
              </p:cNvPr>
              <p:cNvSpPr/>
              <p:nvPr/>
            </p:nvSpPr>
            <p:spPr>
              <a:xfrm>
                <a:off x="4726304" y="1679257"/>
                <a:ext cx="647700" cy="770572"/>
              </a:xfrm>
              <a:custGeom>
                <a:avLst/>
                <a:gdLst>
                  <a:gd name="connsiteX0" fmla="*/ 647700 w 647700"/>
                  <a:gd name="connsiteY0" fmla="*/ 425767 h 770572"/>
                  <a:gd name="connsiteX1" fmla="*/ 323850 w 647700"/>
                  <a:gd name="connsiteY1" fmla="*/ 770572 h 770572"/>
                  <a:gd name="connsiteX2" fmla="*/ 0 w 647700"/>
                  <a:gd name="connsiteY2" fmla="*/ 425767 h 770572"/>
                  <a:gd name="connsiteX3" fmla="*/ 323850 w 647700"/>
                  <a:gd name="connsiteY3" fmla="*/ 0 h 770572"/>
                  <a:gd name="connsiteX4" fmla="*/ 647700 w 647700"/>
                  <a:gd name="connsiteY4" fmla="*/ 425767 h 770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7700" h="770572">
                    <a:moveTo>
                      <a:pt x="647700" y="425767"/>
                    </a:moveTo>
                    <a:cubicBezTo>
                      <a:pt x="647700" y="661035"/>
                      <a:pt x="502920" y="770572"/>
                      <a:pt x="323850" y="770572"/>
                    </a:cubicBezTo>
                    <a:cubicBezTo>
                      <a:pt x="144780" y="770572"/>
                      <a:pt x="0" y="661988"/>
                      <a:pt x="0" y="425767"/>
                    </a:cubicBezTo>
                    <a:cubicBezTo>
                      <a:pt x="0" y="190500"/>
                      <a:pt x="144780" y="0"/>
                      <a:pt x="323850" y="0"/>
                    </a:cubicBezTo>
                    <a:cubicBezTo>
                      <a:pt x="502920" y="0"/>
                      <a:pt x="647700" y="190500"/>
                      <a:pt x="647700" y="425767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08C872B6-A81B-436C-4C8D-3BA6D8478693}"/>
                </a:ext>
              </a:extLst>
            </p:cNvPr>
            <p:cNvGrpSpPr/>
            <p:nvPr/>
          </p:nvGrpSpPr>
          <p:grpSpPr>
            <a:xfrm>
              <a:off x="6647339" y="4319587"/>
              <a:ext cx="757237" cy="386715"/>
              <a:chOff x="6612254" y="2386965"/>
              <a:chExt cx="757237" cy="386715"/>
            </a:xfrm>
          </p:grpSpPr>
          <p:sp>
            <p:nvSpPr>
              <p:cNvPr id="40" name="任意多边形 213">
                <a:extLst>
                  <a:ext uri="{FF2B5EF4-FFF2-40B4-BE49-F238E27FC236}">
                    <a16:creationId xmlns:a16="http://schemas.microsoft.com/office/drawing/2014/main" id="{2C39F426-E0C4-8751-E940-E13DE8FC9F8C}"/>
                  </a:ext>
                </a:extLst>
              </p:cNvPr>
              <p:cNvSpPr/>
              <p:nvPr/>
            </p:nvSpPr>
            <p:spPr>
              <a:xfrm>
                <a:off x="6612254" y="2611754"/>
                <a:ext cx="181927" cy="160972"/>
              </a:xfrm>
              <a:custGeom>
                <a:avLst/>
                <a:gdLst>
                  <a:gd name="connsiteX0" fmla="*/ 181927 w 181927"/>
                  <a:gd name="connsiteY0" fmla="*/ 18098 h 160972"/>
                  <a:gd name="connsiteX1" fmla="*/ 178117 w 181927"/>
                  <a:gd name="connsiteY1" fmla="*/ 4763 h 160972"/>
                  <a:gd name="connsiteX2" fmla="*/ 147638 w 181927"/>
                  <a:gd name="connsiteY2" fmla="*/ 0 h 160972"/>
                  <a:gd name="connsiteX3" fmla="*/ 0 w 181927"/>
                  <a:gd name="connsiteY3" fmla="*/ 160973 h 160972"/>
                  <a:gd name="connsiteX4" fmla="*/ 87630 w 181927"/>
                  <a:gd name="connsiteY4" fmla="*/ 160973 h 160972"/>
                  <a:gd name="connsiteX5" fmla="*/ 181927 w 181927"/>
                  <a:gd name="connsiteY5" fmla="*/ 18098 h 160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1927" h="160972">
                    <a:moveTo>
                      <a:pt x="181927" y="18098"/>
                    </a:moveTo>
                    <a:cubicBezTo>
                      <a:pt x="180975" y="14288"/>
                      <a:pt x="179070" y="9525"/>
                      <a:pt x="178117" y="4763"/>
                    </a:cubicBezTo>
                    <a:cubicBezTo>
                      <a:pt x="168592" y="1905"/>
                      <a:pt x="158115" y="0"/>
                      <a:pt x="147638" y="0"/>
                    </a:cubicBezTo>
                    <a:cubicBezTo>
                      <a:pt x="79057" y="0"/>
                      <a:pt x="20002" y="67627"/>
                      <a:pt x="0" y="160973"/>
                    </a:cubicBezTo>
                    <a:lnTo>
                      <a:pt x="87630" y="160973"/>
                    </a:lnTo>
                    <a:cubicBezTo>
                      <a:pt x="112395" y="103823"/>
                      <a:pt x="144780" y="55245"/>
                      <a:pt x="181927" y="180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 214">
                <a:extLst>
                  <a:ext uri="{FF2B5EF4-FFF2-40B4-BE49-F238E27FC236}">
                    <a16:creationId xmlns:a16="http://schemas.microsoft.com/office/drawing/2014/main" id="{9DFBF52A-6B2D-A205-6294-4412F20E1D86}"/>
                  </a:ext>
                </a:extLst>
              </p:cNvPr>
              <p:cNvSpPr/>
              <p:nvPr/>
            </p:nvSpPr>
            <p:spPr>
              <a:xfrm>
                <a:off x="6781799" y="2386965"/>
                <a:ext cx="313372" cy="340994"/>
              </a:xfrm>
              <a:custGeom>
                <a:avLst/>
                <a:gdLst>
                  <a:gd name="connsiteX0" fmla="*/ 170497 w 313372"/>
                  <a:gd name="connsiteY0" fmla="*/ 262890 h 340994"/>
                  <a:gd name="connsiteX1" fmla="*/ 313372 w 313372"/>
                  <a:gd name="connsiteY1" fmla="*/ 131445 h 340994"/>
                  <a:gd name="connsiteX2" fmla="*/ 166688 w 313372"/>
                  <a:gd name="connsiteY2" fmla="*/ 0 h 340994"/>
                  <a:gd name="connsiteX3" fmla="*/ 0 w 313372"/>
                  <a:gd name="connsiteY3" fmla="*/ 250507 h 340994"/>
                  <a:gd name="connsiteX4" fmla="*/ 9525 w 313372"/>
                  <a:gd name="connsiteY4" fmla="*/ 327660 h 340994"/>
                  <a:gd name="connsiteX5" fmla="*/ 13335 w 313372"/>
                  <a:gd name="connsiteY5" fmla="*/ 340995 h 340994"/>
                  <a:gd name="connsiteX6" fmla="*/ 170497 w 313372"/>
                  <a:gd name="connsiteY6" fmla="*/ 262890 h 340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3372" h="340994">
                    <a:moveTo>
                      <a:pt x="170497" y="262890"/>
                    </a:moveTo>
                    <a:cubicBezTo>
                      <a:pt x="204788" y="195263"/>
                      <a:pt x="255270" y="147638"/>
                      <a:pt x="313372" y="131445"/>
                    </a:cubicBezTo>
                    <a:cubicBezTo>
                      <a:pt x="284797" y="53340"/>
                      <a:pt x="230505" y="0"/>
                      <a:pt x="166688" y="0"/>
                    </a:cubicBezTo>
                    <a:cubicBezTo>
                      <a:pt x="74295" y="0"/>
                      <a:pt x="0" y="112395"/>
                      <a:pt x="0" y="250507"/>
                    </a:cubicBezTo>
                    <a:cubicBezTo>
                      <a:pt x="0" y="279082"/>
                      <a:pt x="2857" y="304800"/>
                      <a:pt x="9525" y="327660"/>
                    </a:cubicBezTo>
                    <a:cubicBezTo>
                      <a:pt x="10478" y="332422"/>
                      <a:pt x="12382" y="336232"/>
                      <a:pt x="13335" y="340995"/>
                    </a:cubicBezTo>
                    <a:cubicBezTo>
                      <a:pt x="58103" y="295275"/>
                      <a:pt x="112395" y="267652"/>
                      <a:pt x="170497" y="262890"/>
                    </a:cubicBezTo>
                    <a:close/>
                  </a:path>
                </a:pathLst>
              </a:custGeom>
              <a:solidFill>
                <a:srgbClr val="3BA24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 215">
                <a:extLst>
                  <a:ext uri="{FF2B5EF4-FFF2-40B4-BE49-F238E27FC236}">
                    <a16:creationId xmlns:a16="http://schemas.microsoft.com/office/drawing/2014/main" id="{23BA41A5-9B3A-4FEE-4BE5-EB29A7282B2A}"/>
                  </a:ext>
                </a:extLst>
              </p:cNvPr>
              <p:cNvSpPr/>
              <p:nvPr/>
            </p:nvSpPr>
            <p:spPr>
              <a:xfrm>
                <a:off x="6952296" y="2413634"/>
                <a:ext cx="417195" cy="359092"/>
              </a:xfrm>
              <a:custGeom>
                <a:avLst/>
                <a:gdLst>
                  <a:gd name="connsiteX0" fmla="*/ 0 w 417195"/>
                  <a:gd name="connsiteY0" fmla="*/ 138113 h 359092"/>
                  <a:gd name="connsiteX1" fmla="*/ 18097 w 417195"/>
                  <a:gd name="connsiteY1" fmla="*/ 137160 h 359092"/>
                  <a:gd name="connsiteX2" fmla="*/ 287655 w 417195"/>
                  <a:gd name="connsiteY2" fmla="*/ 359093 h 359092"/>
                  <a:gd name="connsiteX3" fmla="*/ 417195 w 417195"/>
                  <a:gd name="connsiteY3" fmla="*/ 359093 h 359092"/>
                  <a:gd name="connsiteX4" fmla="*/ 417195 w 417195"/>
                  <a:gd name="connsiteY4" fmla="*/ 350520 h 359092"/>
                  <a:gd name="connsiteX5" fmla="*/ 184785 w 417195"/>
                  <a:gd name="connsiteY5" fmla="*/ 0 h 359092"/>
                  <a:gd name="connsiteX6" fmla="*/ 142875 w 417195"/>
                  <a:gd name="connsiteY6" fmla="*/ 5715 h 359092"/>
                  <a:gd name="connsiteX7" fmla="*/ 0 w 417195"/>
                  <a:gd name="connsiteY7" fmla="*/ 138113 h 359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195" h="359092">
                    <a:moveTo>
                      <a:pt x="0" y="138113"/>
                    </a:moveTo>
                    <a:cubicBezTo>
                      <a:pt x="5715" y="137160"/>
                      <a:pt x="11430" y="137160"/>
                      <a:pt x="18097" y="137160"/>
                    </a:cubicBezTo>
                    <a:cubicBezTo>
                      <a:pt x="131445" y="137160"/>
                      <a:pt x="230505" y="225743"/>
                      <a:pt x="287655" y="359093"/>
                    </a:cubicBezTo>
                    <a:lnTo>
                      <a:pt x="417195" y="359093"/>
                    </a:lnTo>
                    <a:cubicBezTo>
                      <a:pt x="417195" y="356235"/>
                      <a:pt x="417195" y="353378"/>
                      <a:pt x="417195" y="350520"/>
                    </a:cubicBezTo>
                    <a:cubicBezTo>
                      <a:pt x="417195" y="157163"/>
                      <a:pt x="313372" y="0"/>
                      <a:pt x="184785" y="0"/>
                    </a:cubicBezTo>
                    <a:cubicBezTo>
                      <a:pt x="170497" y="0"/>
                      <a:pt x="156210" y="1905"/>
                      <a:pt x="142875" y="5715"/>
                    </a:cubicBezTo>
                    <a:cubicBezTo>
                      <a:pt x="84772" y="22860"/>
                      <a:pt x="34290" y="70485"/>
                      <a:pt x="0" y="138113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 216">
                <a:extLst>
                  <a:ext uri="{FF2B5EF4-FFF2-40B4-BE49-F238E27FC236}">
                    <a16:creationId xmlns:a16="http://schemas.microsoft.com/office/drawing/2014/main" id="{95DB50E9-D970-8CB7-270A-96F5E64142C3}"/>
                  </a:ext>
                </a:extLst>
              </p:cNvPr>
              <p:cNvSpPr/>
              <p:nvPr/>
            </p:nvSpPr>
            <p:spPr>
              <a:xfrm>
                <a:off x="6699884" y="2550795"/>
                <a:ext cx="540067" cy="222885"/>
              </a:xfrm>
              <a:custGeom>
                <a:avLst/>
                <a:gdLst>
                  <a:gd name="connsiteX0" fmla="*/ 270510 w 540067"/>
                  <a:gd name="connsiteY0" fmla="*/ 0 h 222885"/>
                  <a:gd name="connsiteX1" fmla="*/ 252413 w 540067"/>
                  <a:gd name="connsiteY1" fmla="*/ 952 h 222885"/>
                  <a:gd name="connsiteX2" fmla="*/ 94297 w 540067"/>
                  <a:gd name="connsiteY2" fmla="*/ 79058 h 222885"/>
                  <a:gd name="connsiteX3" fmla="*/ 0 w 540067"/>
                  <a:gd name="connsiteY3" fmla="*/ 222885 h 222885"/>
                  <a:gd name="connsiteX4" fmla="*/ 540068 w 540067"/>
                  <a:gd name="connsiteY4" fmla="*/ 222885 h 222885"/>
                  <a:gd name="connsiteX5" fmla="*/ 270510 w 540067"/>
                  <a:gd name="connsiteY5" fmla="*/ 0 h 222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0067" h="222885">
                    <a:moveTo>
                      <a:pt x="270510" y="0"/>
                    </a:moveTo>
                    <a:cubicBezTo>
                      <a:pt x="264795" y="0"/>
                      <a:pt x="258128" y="0"/>
                      <a:pt x="252413" y="952"/>
                    </a:cubicBezTo>
                    <a:cubicBezTo>
                      <a:pt x="194310" y="5715"/>
                      <a:pt x="140970" y="34290"/>
                      <a:pt x="94297" y="79058"/>
                    </a:cubicBezTo>
                    <a:cubicBezTo>
                      <a:pt x="56197" y="116205"/>
                      <a:pt x="24765" y="164783"/>
                      <a:pt x="0" y="222885"/>
                    </a:cubicBezTo>
                    <a:lnTo>
                      <a:pt x="540068" y="222885"/>
                    </a:lnTo>
                    <a:cubicBezTo>
                      <a:pt x="482918" y="88583"/>
                      <a:pt x="383858" y="0"/>
                      <a:pt x="27051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B2927576-C79E-15D9-F1C1-DF194B25D333}"/>
                </a:ext>
              </a:extLst>
            </p:cNvPr>
            <p:cNvGrpSpPr/>
            <p:nvPr/>
          </p:nvGrpSpPr>
          <p:grpSpPr>
            <a:xfrm>
              <a:off x="8914289" y="4138612"/>
              <a:ext cx="578168" cy="567690"/>
              <a:chOff x="8879204" y="2205990"/>
              <a:chExt cx="578168" cy="567690"/>
            </a:xfrm>
          </p:grpSpPr>
          <p:grpSp>
            <p:nvGrpSpPr>
              <p:cNvPr id="28" name="组合 27">
                <a:extLst>
                  <a:ext uri="{FF2B5EF4-FFF2-40B4-BE49-F238E27FC236}">
                    <a16:creationId xmlns:a16="http://schemas.microsoft.com/office/drawing/2014/main" id="{BD5E33B3-093E-1B12-84D3-46FE2FF77C54}"/>
                  </a:ext>
                </a:extLst>
              </p:cNvPr>
              <p:cNvGrpSpPr/>
              <p:nvPr/>
            </p:nvGrpSpPr>
            <p:grpSpPr>
              <a:xfrm>
                <a:off x="8879204" y="2205990"/>
                <a:ext cx="342900" cy="567690"/>
                <a:chOff x="8879204" y="2205990"/>
                <a:chExt cx="342900" cy="567690"/>
              </a:xfrm>
            </p:grpSpPr>
            <p:sp>
              <p:nvSpPr>
                <p:cNvPr id="34" name="任意多边形 220">
                  <a:extLst>
                    <a:ext uri="{FF2B5EF4-FFF2-40B4-BE49-F238E27FC236}">
                      <a16:creationId xmlns:a16="http://schemas.microsoft.com/office/drawing/2014/main" id="{B9595805-7EC3-1A10-2501-2F9C3A2DB640}"/>
                    </a:ext>
                  </a:extLst>
                </p:cNvPr>
                <p:cNvSpPr/>
                <p:nvPr/>
              </p:nvSpPr>
              <p:spPr>
                <a:xfrm>
                  <a:off x="9023984" y="2238375"/>
                  <a:ext cx="60007" cy="535305"/>
                </a:xfrm>
                <a:custGeom>
                  <a:avLst/>
                  <a:gdLst>
                    <a:gd name="connsiteX0" fmla="*/ 60007 w 60007"/>
                    <a:gd name="connsiteY0" fmla="*/ 535305 h 535305"/>
                    <a:gd name="connsiteX1" fmla="*/ 0 w 60007"/>
                    <a:gd name="connsiteY1" fmla="*/ 535305 h 535305"/>
                    <a:gd name="connsiteX2" fmla="*/ 20955 w 60007"/>
                    <a:gd name="connsiteY2" fmla="*/ 0 h 535305"/>
                    <a:gd name="connsiteX3" fmla="*/ 39052 w 60007"/>
                    <a:gd name="connsiteY3" fmla="*/ 0 h 535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007" h="535305">
                      <a:moveTo>
                        <a:pt x="60007" y="535305"/>
                      </a:moveTo>
                      <a:lnTo>
                        <a:pt x="0" y="535305"/>
                      </a:lnTo>
                      <a:lnTo>
                        <a:pt x="20955" y="0"/>
                      </a:lnTo>
                      <a:lnTo>
                        <a:pt x="39052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35" name="组合 34">
                  <a:extLst>
                    <a:ext uri="{FF2B5EF4-FFF2-40B4-BE49-F238E27FC236}">
                      <a16:creationId xmlns:a16="http://schemas.microsoft.com/office/drawing/2014/main" id="{D316F56F-367E-52ED-CE06-997A1AC8AA04}"/>
                    </a:ext>
                  </a:extLst>
                </p:cNvPr>
                <p:cNvGrpSpPr/>
                <p:nvPr/>
              </p:nvGrpSpPr>
              <p:grpSpPr>
                <a:xfrm>
                  <a:off x="8879204" y="2205990"/>
                  <a:ext cx="342900" cy="567690"/>
                  <a:chOff x="8879204" y="2205990"/>
                  <a:chExt cx="342900" cy="567690"/>
                </a:xfrm>
              </p:grpSpPr>
              <p:sp>
                <p:nvSpPr>
                  <p:cNvPr id="36" name="任意多边形 222">
                    <a:extLst>
                      <a:ext uri="{FF2B5EF4-FFF2-40B4-BE49-F238E27FC236}">
                        <a16:creationId xmlns:a16="http://schemas.microsoft.com/office/drawing/2014/main" id="{7FA613C3-662C-FC6D-95F6-BDD0F5690753}"/>
                      </a:ext>
                    </a:extLst>
                  </p:cNvPr>
                  <p:cNvSpPr/>
                  <p:nvPr/>
                </p:nvSpPr>
                <p:spPr>
                  <a:xfrm>
                    <a:off x="8879204" y="2546984"/>
                    <a:ext cx="342900" cy="226695"/>
                  </a:xfrm>
                  <a:custGeom>
                    <a:avLst/>
                    <a:gdLst>
                      <a:gd name="connsiteX0" fmla="*/ 170497 w 342900"/>
                      <a:gd name="connsiteY0" fmla="*/ 0 h 226695"/>
                      <a:gd name="connsiteX1" fmla="*/ 0 w 342900"/>
                      <a:gd name="connsiteY1" fmla="*/ 226695 h 226695"/>
                      <a:gd name="connsiteX2" fmla="*/ 171450 w 342900"/>
                      <a:gd name="connsiteY2" fmla="*/ 226695 h 226695"/>
                      <a:gd name="connsiteX3" fmla="*/ 342900 w 342900"/>
                      <a:gd name="connsiteY3" fmla="*/ 226695 h 2266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42900" h="226695">
                        <a:moveTo>
                          <a:pt x="170497" y="0"/>
                        </a:moveTo>
                        <a:lnTo>
                          <a:pt x="0" y="226695"/>
                        </a:lnTo>
                        <a:lnTo>
                          <a:pt x="171450" y="226695"/>
                        </a:lnTo>
                        <a:lnTo>
                          <a:pt x="342900" y="226695"/>
                        </a:lnTo>
                        <a:close/>
                      </a:path>
                    </a:pathLst>
                  </a:custGeom>
                  <a:solidFill>
                    <a:srgbClr val="006738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7" name="任意多边形 223">
                    <a:extLst>
                      <a:ext uri="{FF2B5EF4-FFF2-40B4-BE49-F238E27FC236}">
                        <a16:creationId xmlns:a16="http://schemas.microsoft.com/office/drawing/2014/main" id="{2A2E2D1F-ABD0-8E83-23A7-B9188589FB79}"/>
                      </a:ext>
                    </a:extLst>
                  </p:cNvPr>
                  <p:cNvSpPr/>
                  <p:nvPr/>
                </p:nvSpPr>
                <p:spPr>
                  <a:xfrm>
                    <a:off x="8893492" y="2415540"/>
                    <a:ext cx="313372" cy="191452"/>
                  </a:xfrm>
                  <a:custGeom>
                    <a:avLst/>
                    <a:gdLst>
                      <a:gd name="connsiteX0" fmla="*/ 155257 w 313372"/>
                      <a:gd name="connsiteY0" fmla="*/ 0 h 191452"/>
                      <a:gd name="connsiteX1" fmla="*/ 0 w 313372"/>
                      <a:gd name="connsiteY1" fmla="*/ 191452 h 191452"/>
                      <a:gd name="connsiteX2" fmla="*/ 156210 w 313372"/>
                      <a:gd name="connsiteY2" fmla="*/ 191452 h 191452"/>
                      <a:gd name="connsiteX3" fmla="*/ 313372 w 313372"/>
                      <a:gd name="connsiteY3" fmla="*/ 191452 h 1914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13372" h="191452">
                        <a:moveTo>
                          <a:pt x="155257" y="0"/>
                        </a:moveTo>
                        <a:lnTo>
                          <a:pt x="0" y="191452"/>
                        </a:lnTo>
                        <a:lnTo>
                          <a:pt x="156210" y="191452"/>
                        </a:lnTo>
                        <a:lnTo>
                          <a:pt x="313372" y="191452"/>
                        </a:lnTo>
                        <a:close/>
                      </a:path>
                    </a:pathLst>
                  </a:custGeom>
                  <a:solidFill>
                    <a:srgbClr val="029344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8" name="任意多边形 224">
                    <a:extLst>
                      <a:ext uri="{FF2B5EF4-FFF2-40B4-BE49-F238E27FC236}">
                        <a16:creationId xmlns:a16="http://schemas.microsoft.com/office/drawing/2014/main" id="{86E5CAD6-D7EC-602E-A5AD-C7BB14D710F3}"/>
                      </a:ext>
                    </a:extLst>
                  </p:cNvPr>
                  <p:cNvSpPr/>
                  <p:nvPr/>
                </p:nvSpPr>
                <p:spPr>
                  <a:xfrm>
                    <a:off x="8904922" y="2303145"/>
                    <a:ext cx="288607" cy="163829"/>
                  </a:xfrm>
                  <a:custGeom>
                    <a:avLst/>
                    <a:gdLst>
                      <a:gd name="connsiteX0" fmla="*/ 143827 w 288607"/>
                      <a:gd name="connsiteY0" fmla="*/ 0 h 163829"/>
                      <a:gd name="connsiteX1" fmla="*/ 0 w 288607"/>
                      <a:gd name="connsiteY1" fmla="*/ 163830 h 163829"/>
                      <a:gd name="connsiteX2" fmla="*/ 144780 w 288607"/>
                      <a:gd name="connsiteY2" fmla="*/ 163830 h 163829"/>
                      <a:gd name="connsiteX3" fmla="*/ 288607 w 288607"/>
                      <a:gd name="connsiteY3" fmla="*/ 163830 h 1638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88607" h="163829">
                        <a:moveTo>
                          <a:pt x="143827" y="0"/>
                        </a:moveTo>
                        <a:lnTo>
                          <a:pt x="0" y="163830"/>
                        </a:lnTo>
                        <a:lnTo>
                          <a:pt x="144780" y="163830"/>
                        </a:lnTo>
                        <a:lnTo>
                          <a:pt x="288607" y="163830"/>
                        </a:lnTo>
                        <a:close/>
                      </a:path>
                    </a:pathLst>
                  </a:custGeom>
                  <a:solidFill>
                    <a:srgbClr val="6EB13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9" name="任意多边形 225">
                    <a:extLst>
                      <a:ext uri="{FF2B5EF4-FFF2-40B4-BE49-F238E27FC236}">
                        <a16:creationId xmlns:a16="http://schemas.microsoft.com/office/drawing/2014/main" id="{929E4F0E-6329-6865-1286-E411D3F6B75F}"/>
                      </a:ext>
                    </a:extLst>
                  </p:cNvPr>
                  <p:cNvSpPr/>
                  <p:nvPr/>
                </p:nvSpPr>
                <p:spPr>
                  <a:xfrm>
                    <a:off x="8915399" y="2205990"/>
                    <a:ext cx="266700" cy="140969"/>
                  </a:xfrm>
                  <a:custGeom>
                    <a:avLst/>
                    <a:gdLst>
                      <a:gd name="connsiteX0" fmla="*/ 132398 w 266700"/>
                      <a:gd name="connsiteY0" fmla="*/ 0 h 140969"/>
                      <a:gd name="connsiteX1" fmla="*/ 0 w 266700"/>
                      <a:gd name="connsiteY1" fmla="*/ 140970 h 140969"/>
                      <a:gd name="connsiteX2" fmla="*/ 133350 w 266700"/>
                      <a:gd name="connsiteY2" fmla="*/ 140970 h 140969"/>
                      <a:gd name="connsiteX3" fmla="*/ 266700 w 266700"/>
                      <a:gd name="connsiteY3" fmla="*/ 140970 h 1409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66700" h="140969">
                        <a:moveTo>
                          <a:pt x="132398" y="0"/>
                        </a:moveTo>
                        <a:lnTo>
                          <a:pt x="0" y="140970"/>
                        </a:lnTo>
                        <a:lnTo>
                          <a:pt x="133350" y="140970"/>
                        </a:lnTo>
                        <a:lnTo>
                          <a:pt x="266700" y="140970"/>
                        </a:lnTo>
                        <a:close/>
                      </a:path>
                    </a:pathLst>
                  </a:custGeom>
                  <a:solidFill>
                    <a:srgbClr val="92C33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29" name="组合 28">
                <a:extLst>
                  <a:ext uri="{FF2B5EF4-FFF2-40B4-BE49-F238E27FC236}">
                    <a16:creationId xmlns:a16="http://schemas.microsoft.com/office/drawing/2014/main" id="{8384E95C-64F4-B6CB-8E10-A984E5FFE330}"/>
                  </a:ext>
                </a:extLst>
              </p:cNvPr>
              <p:cNvGrpSpPr/>
              <p:nvPr/>
            </p:nvGrpSpPr>
            <p:grpSpPr>
              <a:xfrm>
                <a:off x="9019222" y="2615565"/>
                <a:ext cx="438150" cy="158115"/>
                <a:chOff x="9019222" y="2615565"/>
                <a:chExt cx="438150" cy="158115"/>
              </a:xfrm>
            </p:grpSpPr>
            <p:sp>
              <p:nvSpPr>
                <p:cNvPr id="30" name="任意多边形 228">
                  <a:extLst>
                    <a:ext uri="{FF2B5EF4-FFF2-40B4-BE49-F238E27FC236}">
                      <a16:creationId xmlns:a16="http://schemas.microsoft.com/office/drawing/2014/main" id="{9C65B786-81B0-C01D-17CF-133EA2D82661}"/>
                    </a:ext>
                  </a:extLst>
                </p:cNvPr>
                <p:cNvSpPr/>
                <p:nvPr/>
              </p:nvSpPr>
              <p:spPr>
                <a:xfrm>
                  <a:off x="9088754" y="2615565"/>
                  <a:ext cx="317182" cy="158115"/>
                </a:xfrm>
                <a:custGeom>
                  <a:avLst/>
                  <a:gdLst>
                    <a:gd name="connsiteX0" fmla="*/ 158115 w 317182"/>
                    <a:gd name="connsiteY0" fmla="*/ 0 h 158115"/>
                    <a:gd name="connsiteX1" fmla="*/ 0 w 317182"/>
                    <a:gd name="connsiteY1" fmla="*/ 158115 h 158115"/>
                    <a:gd name="connsiteX2" fmla="*/ 317182 w 317182"/>
                    <a:gd name="connsiteY2" fmla="*/ 158115 h 158115"/>
                    <a:gd name="connsiteX3" fmla="*/ 158115 w 317182"/>
                    <a:gd name="connsiteY3" fmla="*/ 0 h 1581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7182" h="158115">
                      <a:moveTo>
                        <a:pt x="158115" y="0"/>
                      </a:moveTo>
                      <a:cubicBezTo>
                        <a:pt x="70485" y="0"/>
                        <a:pt x="0" y="70485"/>
                        <a:pt x="0" y="158115"/>
                      </a:cubicBezTo>
                      <a:lnTo>
                        <a:pt x="317182" y="158115"/>
                      </a:lnTo>
                      <a:cubicBezTo>
                        <a:pt x="317182" y="70485"/>
                        <a:pt x="245745" y="0"/>
                        <a:pt x="158115" y="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1" name="任意多边形 229">
                  <a:extLst>
                    <a:ext uri="{FF2B5EF4-FFF2-40B4-BE49-F238E27FC236}">
                      <a16:creationId xmlns:a16="http://schemas.microsoft.com/office/drawing/2014/main" id="{D45EE1E4-C6BC-1911-8BBE-38831CDF6367}"/>
                    </a:ext>
                  </a:extLst>
                </p:cNvPr>
                <p:cNvSpPr/>
                <p:nvPr/>
              </p:nvSpPr>
              <p:spPr>
                <a:xfrm>
                  <a:off x="9019222" y="2677477"/>
                  <a:ext cx="190500" cy="95250"/>
                </a:xfrm>
                <a:custGeom>
                  <a:avLst/>
                  <a:gdLst>
                    <a:gd name="connsiteX0" fmla="*/ 95250 w 190500"/>
                    <a:gd name="connsiteY0" fmla="*/ 0 h 95250"/>
                    <a:gd name="connsiteX1" fmla="*/ 0 w 190500"/>
                    <a:gd name="connsiteY1" fmla="*/ 95250 h 95250"/>
                    <a:gd name="connsiteX2" fmla="*/ 190500 w 190500"/>
                    <a:gd name="connsiteY2" fmla="*/ 95250 h 95250"/>
                    <a:gd name="connsiteX3" fmla="*/ 95250 w 190500"/>
                    <a:gd name="connsiteY3" fmla="*/ 0 h 95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0500" h="95250">
                      <a:moveTo>
                        <a:pt x="95250" y="0"/>
                      </a:moveTo>
                      <a:cubicBezTo>
                        <a:pt x="42863" y="0"/>
                        <a:pt x="0" y="42863"/>
                        <a:pt x="0" y="95250"/>
                      </a:cubicBezTo>
                      <a:lnTo>
                        <a:pt x="190500" y="95250"/>
                      </a:lnTo>
                      <a:cubicBezTo>
                        <a:pt x="190500" y="42863"/>
                        <a:pt x="148590" y="0"/>
                        <a:pt x="95250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2" name="任意多边形 230">
                  <a:extLst>
                    <a:ext uri="{FF2B5EF4-FFF2-40B4-BE49-F238E27FC236}">
                      <a16:creationId xmlns:a16="http://schemas.microsoft.com/office/drawing/2014/main" id="{6C500A81-6349-3F37-785F-9F046C9DDEF7}"/>
                    </a:ext>
                  </a:extLst>
                </p:cNvPr>
                <p:cNvSpPr/>
                <p:nvPr/>
              </p:nvSpPr>
              <p:spPr>
                <a:xfrm>
                  <a:off x="9139237" y="2706052"/>
                  <a:ext cx="134324" cy="67627"/>
                </a:xfrm>
                <a:custGeom>
                  <a:avLst/>
                  <a:gdLst>
                    <a:gd name="connsiteX0" fmla="*/ 67627 w 134324"/>
                    <a:gd name="connsiteY0" fmla="*/ 0 h 67627"/>
                    <a:gd name="connsiteX1" fmla="*/ 0 w 134324"/>
                    <a:gd name="connsiteY1" fmla="*/ 67628 h 67627"/>
                    <a:gd name="connsiteX2" fmla="*/ 134302 w 134324"/>
                    <a:gd name="connsiteY2" fmla="*/ 67628 h 67627"/>
                    <a:gd name="connsiteX3" fmla="*/ 67627 w 134324"/>
                    <a:gd name="connsiteY3" fmla="*/ 0 h 67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4324" h="67627">
                      <a:moveTo>
                        <a:pt x="67627" y="0"/>
                      </a:moveTo>
                      <a:cubicBezTo>
                        <a:pt x="30480" y="0"/>
                        <a:pt x="0" y="30480"/>
                        <a:pt x="0" y="67628"/>
                      </a:cubicBezTo>
                      <a:lnTo>
                        <a:pt x="134302" y="67628"/>
                      </a:lnTo>
                      <a:cubicBezTo>
                        <a:pt x="135255" y="30480"/>
                        <a:pt x="104775" y="0"/>
                        <a:pt x="67627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3" name="任意多边形 231">
                  <a:extLst>
                    <a:ext uri="{FF2B5EF4-FFF2-40B4-BE49-F238E27FC236}">
                      <a16:creationId xmlns:a16="http://schemas.microsoft.com/office/drawing/2014/main" id="{36E87A51-9594-9719-AE73-F8D687BA5AB3}"/>
                    </a:ext>
                  </a:extLst>
                </p:cNvPr>
                <p:cNvSpPr/>
                <p:nvPr/>
              </p:nvSpPr>
              <p:spPr>
                <a:xfrm>
                  <a:off x="9332594" y="2710815"/>
                  <a:ext cx="124777" cy="62865"/>
                </a:xfrm>
                <a:custGeom>
                  <a:avLst/>
                  <a:gdLst>
                    <a:gd name="connsiteX0" fmla="*/ 62865 w 124777"/>
                    <a:gd name="connsiteY0" fmla="*/ 0 h 62865"/>
                    <a:gd name="connsiteX1" fmla="*/ 0 w 124777"/>
                    <a:gd name="connsiteY1" fmla="*/ 62865 h 62865"/>
                    <a:gd name="connsiteX2" fmla="*/ 124778 w 124777"/>
                    <a:gd name="connsiteY2" fmla="*/ 62865 h 62865"/>
                    <a:gd name="connsiteX3" fmla="*/ 62865 w 124777"/>
                    <a:gd name="connsiteY3" fmla="*/ 0 h 62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4777" h="62865">
                      <a:moveTo>
                        <a:pt x="62865" y="0"/>
                      </a:moveTo>
                      <a:cubicBezTo>
                        <a:pt x="28575" y="0"/>
                        <a:pt x="0" y="27622"/>
                        <a:pt x="0" y="62865"/>
                      </a:cubicBezTo>
                      <a:lnTo>
                        <a:pt x="124778" y="62865"/>
                      </a:lnTo>
                      <a:cubicBezTo>
                        <a:pt x="124778" y="27622"/>
                        <a:pt x="97155" y="0"/>
                        <a:pt x="62865" y="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E5E2B812-7619-37AF-79D1-7285E1376834}"/>
                </a:ext>
              </a:extLst>
            </p:cNvPr>
            <p:cNvGrpSpPr/>
            <p:nvPr/>
          </p:nvGrpSpPr>
          <p:grpSpPr>
            <a:xfrm>
              <a:off x="2772569" y="4065269"/>
              <a:ext cx="704850" cy="641032"/>
              <a:chOff x="2737484" y="2132647"/>
              <a:chExt cx="704850" cy="641032"/>
            </a:xfrm>
          </p:grpSpPr>
          <p:sp>
            <p:nvSpPr>
              <p:cNvPr id="15" name="任意多边形 233">
                <a:extLst>
                  <a:ext uri="{FF2B5EF4-FFF2-40B4-BE49-F238E27FC236}">
                    <a16:creationId xmlns:a16="http://schemas.microsoft.com/office/drawing/2014/main" id="{2AEFBDD8-2A22-80AD-DACF-47ACC4AF8329}"/>
                  </a:ext>
                </a:extLst>
              </p:cNvPr>
              <p:cNvSpPr/>
              <p:nvPr/>
            </p:nvSpPr>
            <p:spPr>
              <a:xfrm>
                <a:off x="2987992" y="2646045"/>
                <a:ext cx="340058" cy="127635"/>
              </a:xfrm>
              <a:custGeom>
                <a:avLst/>
                <a:gdLst>
                  <a:gd name="connsiteX0" fmla="*/ 250508 w 340058"/>
                  <a:gd name="connsiteY0" fmla="*/ 37148 h 127635"/>
                  <a:gd name="connsiteX1" fmla="*/ 221933 w 340058"/>
                  <a:gd name="connsiteY1" fmla="*/ 41910 h 127635"/>
                  <a:gd name="connsiteX2" fmla="*/ 127635 w 340058"/>
                  <a:gd name="connsiteY2" fmla="*/ 0 h 127635"/>
                  <a:gd name="connsiteX3" fmla="*/ 0 w 340058"/>
                  <a:gd name="connsiteY3" fmla="*/ 127635 h 127635"/>
                  <a:gd name="connsiteX4" fmla="*/ 160020 w 340058"/>
                  <a:gd name="connsiteY4" fmla="*/ 127635 h 127635"/>
                  <a:gd name="connsiteX5" fmla="*/ 254318 w 340058"/>
                  <a:gd name="connsiteY5" fmla="*/ 127635 h 127635"/>
                  <a:gd name="connsiteX6" fmla="*/ 340043 w 340058"/>
                  <a:gd name="connsiteY6" fmla="*/ 127635 h 127635"/>
                  <a:gd name="connsiteX7" fmla="*/ 250508 w 340058"/>
                  <a:gd name="connsiteY7" fmla="*/ 37148 h 127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0058" h="127635">
                    <a:moveTo>
                      <a:pt x="250508" y="37148"/>
                    </a:moveTo>
                    <a:cubicBezTo>
                      <a:pt x="240030" y="37148"/>
                      <a:pt x="230505" y="39052"/>
                      <a:pt x="221933" y="41910"/>
                    </a:cubicBezTo>
                    <a:cubicBezTo>
                      <a:pt x="198120" y="16192"/>
                      <a:pt x="164783" y="0"/>
                      <a:pt x="127635" y="0"/>
                    </a:cubicBezTo>
                    <a:cubicBezTo>
                      <a:pt x="57150" y="0"/>
                      <a:pt x="0" y="57150"/>
                      <a:pt x="0" y="127635"/>
                    </a:cubicBezTo>
                    <a:lnTo>
                      <a:pt x="160020" y="127635"/>
                    </a:lnTo>
                    <a:lnTo>
                      <a:pt x="254318" y="127635"/>
                    </a:lnTo>
                    <a:lnTo>
                      <a:pt x="340043" y="127635"/>
                    </a:lnTo>
                    <a:cubicBezTo>
                      <a:pt x="340995" y="77152"/>
                      <a:pt x="300038" y="37148"/>
                      <a:pt x="250508" y="37148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6" name="组合 15">
                <a:extLst>
                  <a:ext uri="{FF2B5EF4-FFF2-40B4-BE49-F238E27FC236}">
                    <a16:creationId xmlns:a16="http://schemas.microsoft.com/office/drawing/2014/main" id="{1BF61F80-8A36-21B3-E643-C2004BBBABC8}"/>
                  </a:ext>
                </a:extLst>
              </p:cNvPr>
              <p:cNvGrpSpPr/>
              <p:nvPr/>
            </p:nvGrpSpPr>
            <p:grpSpPr>
              <a:xfrm>
                <a:off x="2737484" y="2132647"/>
                <a:ext cx="704850" cy="640080"/>
                <a:chOff x="2737484" y="2132647"/>
                <a:chExt cx="704850" cy="640080"/>
              </a:xfrm>
            </p:grpSpPr>
            <p:sp>
              <p:nvSpPr>
                <p:cNvPr id="18" name="任意多边形 235">
                  <a:extLst>
                    <a:ext uri="{FF2B5EF4-FFF2-40B4-BE49-F238E27FC236}">
                      <a16:creationId xmlns:a16="http://schemas.microsoft.com/office/drawing/2014/main" id="{0DC3BED3-1C96-CD1A-2101-8802DD24526A}"/>
                    </a:ext>
                  </a:extLst>
                </p:cNvPr>
                <p:cNvSpPr/>
                <p:nvPr/>
              </p:nvSpPr>
              <p:spPr>
                <a:xfrm>
                  <a:off x="3063239" y="2425065"/>
                  <a:ext cx="49530" cy="347662"/>
                </a:xfrm>
                <a:custGeom>
                  <a:avLst/>
                  <a:gdLst>
                    <a:gd name="connsiteX0" fmla="*/ 0 w 49530"/>
                    <a:gd name="connsiteY0" fmla="*/ 347663 h 347662"/>
                    <a:gd name="connsiteX1" fmla="*/ 49530 w 49530"/>
                    <a:gd name="connsiteY1" fmla="*/ 347663 h 347662"/>
                    <a:gd name="connsiteX2" fmla="*/ 43815 w 49530"/>
                    <a:gd name="connsiteY2" fmla="*/ 0 h 347662"/>
                    <a:gd name="connsiteX3" fmla="*/ 8573 w 49530"/>
                    <a:gd name="connsiteY3" fmla="*/ 0 h 347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9530" h="347662">
                      <a:moveTo>
                        <a:pt x="0" y="347663"/>
                      </a:moveTo>
                      <a:lnTo>
                        <a:pt x="49530" y="347663"/>
                      </a:lnTo>
                      <a:lnTo>
                        <a:pt x="43815" y="0"/>
                      </a:lnTo>
                      <a:lnTo>
                        <a:pt x="8573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" name="任意多边形 236">
                  <a:extLst>
                    <a:ext uri="{FF2B5EF4-FFF2-40B4-BE49-F238E27FC236}">
                      <a16:creationId xmlns:a16="http://schemas.microsoft.com/office/drawing/2014/main" id="{8628C098-A99E-FAA5-9416-2B51A945DC60}"/>
                    </a:ext>
                  </a:extLst>
                </p:cNvPr>
                <p:cNvSpPr/>
                <p:nvPr/>
              </p:nvSpPr>
              <p:spPr>
                <a:xfrm>
                  <a:off x="3097529" y="2373629"/>
                  <a:ext cx="150866" cy="200025"/>
                </a:xfrm>
                <a:custGeom>
                  <a:avLst/>
                  <a:gdLst>
                    <a:gd name="connsiteX0" fmla="*/ 952 w 150866"/>
                    <a:gd name="connsiteY0" fmla="*/ 158115 h 200025"/>
                    <a:gd name="connsiteX1" fmla="*/ 110490 w 150866"/>
                    <a:gd name="connsiteY1" fmla="*/ 0 h 200025"/>
                    <a:gd name="connsiteX2" fmla="*/ 149543 w 150866"/>
                    <a:gd name="connsiteY2" fmla="*/ 6667 h 200025"/>
                    <a:gd name="connsiteX3" fmla="*/ 0 w 150866"/>
                    <a:gd name="connsiteY3" fmla="*/ 200025 h 200025"/>
                    <a:gd name="connsiteX4" fmla="*/ 952 w 150866"/>
                    <a:gd name="connsiteY4" fmla="*/ 158115 h 200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66" h="200025">
                      <a:moveTo>
                        <a:pt x="952" y="158115"/>
                      </a:moveTo>
                      <a:cubicBezTo>
                        <a:pt x="952" y="158115"/>
                        <a:pt x="152400" y="141923"/>
                        <a:pt x="110490" y="0"/>
                      </a:cubicBezTo>
                      <a:lnTo>
                        <a:pt x="149543" y="6667"/>
                      </a:lnTo>
                      <a:cubicBezTo>
                        <a:pt x="149543" y="6667"/>
                        <a:pt x="175260" y="144780"/>
                        <a:pt x="0" y="200025"/>
                      </a:cubicBezTo>
                      <a:lnTo>
                        <a:pt x="952" y="158115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" name="任意多边形 237">
                  <a:extLst>
                    <a:ext uri="{FF2B5EF4-FFF2-40B4-BE49-F238E27FC236}">
                      <a16:creationId xmlns:a16="http://schemas.microsoft.com/office/drawing/2014/main" id="{90972145-609A-815A-448C-CB077C21E62F}"/>
                    </a:ext>
                  </a:extLst>
                </p:cNvPr>
                <p:cNvSpPr/>
                <p:nvPr/>
              </p:nvSpPr>
              <p:spPr>
                <a:xfrm>
                  <a:off x="2968935" y="2326957"/>
                  <a:ext cx="120973" cy="156209"/>
                </a:xfrm>
                <a:custGeom>
                  <a:avLst/>
                  <a:gdLst>
                    <a:gd name="connsiteX0" fmla="*/ 30486 w 120973"/>
                    <a:gd name="connsiteY0" fmla="*/ 10477 h 156209"/>
                    <a:gd name="connsiteX1" fmla="*/ 120974 w 120973"/>
                    <a:gd name="connsiteY1" fmla="*/ 128588 h 156209"/>
                    <a:gd name="connsiteX2" fmla="*/ 106686 w 120973"/>
                    <a:gd name="connsiteY2" fmla="*/ 156210 h 156209"/>
                    <a:gd name="connsiteX3" fmla="*/ 6 w 120973"/>
                    <a:gd name="connsiteY3" fmla="*/ 0 h 156209"/>
                    <a:gd name="connsiteX4" fmla="*/ 30486 w 120973"/>
                    <a:gd name="connsiteY4" fmla="*/ 10477 h 156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0973" h="156209">
                      <a:moveTo>
                        <a:pt x="30486" y="10477"/>
                      </a:moveTo>
                      <a:cubicBezTo>
                        <a:pt x="30486" y="10477"/>
                        <a:pt x="5721" y="125730"/>
                        <a:pt x="120974" y="128588"/>
                      </a:cubicBezTo>
                      <a:lnTo>
                        <a:pt x="106686" y="156210"/>
                      </a:lnTo>
                      <a:cubicBezTo>
                        <a:pt x="106686" y="156210"/>
                        <a:pt x="-946" y="141922"/>
                        <a:pt x="6" y="0"/>
                      </a:cubicBezTo>
                      <a:lnTo>
                        <a:pt x="30486" y="10477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" name="任意多边形 238">
                  <a:extLst>
                    <a:ext uri="{FF2B5EF4-FFF2-40B4-BE49-F238E27FC236}">
                      <a16:creationId xmlns:a16="http://schemas.microsoft.com/office/drawing/2014/main" id="{2B458856-4A06-4886-E661-89A3261FBE3E}"/>
                    </a:ext>
                  </a:extLst>
                </p:cNvPr>
                <p:cNvSpPr/>
                <p:nvPr/>
              </p:nvSpPr>
              <p:spPr>
                <a:xfrm>
                  <a:off x="2832734" y="2346959"/>
                  <a:ext cx="167640" cy="97818"/>
                </a:xfrm>
                <a:custGeom>
                  <a:avLst/>
                  <a:gdLst>
                    <a:gd name="connsiteX0" fmla="*/ 32385 w 167640"/>
                    <a:gd name="connsiteY0" fmla="*/ 0 h 97818"/>
                    <a:gd name="connsiteX1" fmla="*/ 167640 w 167640"/>
                    <a:gd name="connsiteY1" fmla="*/ 61913 h 97818"/>
                    <a:gd name="connsiteX2" fmla="*/ 167640 w 167640"/>
                    <a:gd name="connsiteY2" fmla="*/ 92393 h 97818"/>
                    <a:gd name="connsiteX3" fmla="*/ 0 w 167640"/>
                    <a:gd name="connsiteY3" fmla="*/ 4763 h 97818"/>
                    <a:gd name="connsiteX4" fmla="*/ 32385 w 167640"/>
                    <a:gd name="connsiteY4" fmla="*/ 0 h 97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97818">
                      <a:moveTo>
                        <a:pt x="32385" y="0"/>
                      </a:moveTo>
                      <a:cubicBezTo>
                        <a:pt x="32385" y="0"/>
                        <a:pt x="64770" y="112395"/>
                        <a:pt x="167640" y="61913"/>
                      </a:cubicBezTo>
                      <a:lnTo>
                        <a:pt x="167640" y="92393"/>
                      </a:lnTo>
                      <a:cubicBezTo>
                        <a:pt x="167640" y="92393"/>
                        <a:pt x="65723" y="130493"/>
                        <a:pt x="0" y="4763"/>
                      </a:cubicBezTo>
                      <a:lnTo>
                        <a:pt x="32385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" name="任意多边形 239">
                  <a:extLst>
                    <a:ext uri="{FF2B5EF4-FFF2-40B4-BE49-F238E27FC236}">
                      <a16:creationId xmlns:a16="http://schemas.microsoft.com/office/drawing/2014/main" id="{EFA5414F-3A8D-D51A-5A7C-C091C479DFC4}"/>
                    </a:ext>
                  </a:extLst>
                </p:cNvPr>
                <p:cNvSpPr/>
                <p:nvPr/>
              </p:nvSpPr>
              <p:spPr>
                <a:xfrm>
                  <a:off x="3191826" y="2437447"/>
                  <a:ext cx="179070" cy="91847"/>
                </a:xfrm>
                <a:custGeom>
                  <a:avLst/>
                  <a:gdLst>
                    <a:gd name="connsiteX0" fmla="*/ 18098 w 179070"/>
                    <a:gd name="connsiteY0" fmla="*/ 56198 h 91847"/>
                    <a:gd name="connsiteX1" fmla="*/ 156210 w 179070"/>
                    <a:gd name="connsiteY1" fmla="*/ 0 h 91847"/>
                    <a:gd name="connsiteX2" fmla="*/ 179070 w 179070"/>
                    <a:gd name="connsiteY2" fmla="*/ 20955 h 91847"/>
                    <a:gd name="connsiteX3" fmla="*/ 0 w 179070"/>
                    <a:gd name="connsiteY3" fmla="*/ 82868 h 91847"/>
                    <a:gd name="connsiteX4" fmla="*/ 18098 w 179070"/>
                    <a:gd name="connsiteY4" fmla="*/ 56198 h 91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9070" h="91847">
                      <a:moveTo>
                        <a:pt x="18098" y="56198"/>
                      </a:moveTo>
                      <a:cubicBezTo>
                        <a:pt x="18098" y="56198"/>
                        <a:pt x="122873" y="109538"/>
                        <a:pt x="156210" y="0"/>
                      </a:cubicBezTo>
                      <a:lnTo>
                        <a:pt x="179070" y="20955"/>
                      </a:lnTo>
                      <a:cubicBezTo>
                        <a:pt x="179070" y="20955"/>
                        <a:pt x="137160" y="121920"/>
                        <a:pt x="0" y="82868"/>
                      </a:cubicBezTo>
                      <a:lnTo>
                        <a:pt x="18098" y="56198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" name="任意多边形 240">
                  <a:extLst>
                    <a:ext uri="{FF2B5EF4-FFF2-40B4-BE49-F238E27FC236}">
                      <a16:creationId xmlns:a16="http://schemas.microsoft.com/office/drawing/2014/main" id="{B8A32BF2-7D7D-0E09-705A-80A1C70C85B4}"/>
                    </a:ext>
                  </a:extLst>
                </p:cNvPr>
                <p:cNvSpPr/>
                <p:nvPr/>
              </p:nvSpPr>
              <p:spPr>
                <a:xfrm>
                  <a:off x="2895599" y="2154554"/>
                  <a:ext cx="180975" cy="215265"/>
                </a:xfrm>
                <a:custGeom>
                  <a:avLst/>
                  <a:gdLst>
                    <a:gd name="connsiteX0" fmla="*/ 180975 w 180975"/>
                    <a:gd name="connsiteY0" fmla="*/ 119063 h 215265"/>
                    <a:gd name="connsiteX1" fmla="*/ 90488 w 180975"/>
                    <a:gd name="connsiteY1" fmla="*/ 215265 h 215265"/>
                    <a:gd name="connsiteX2" fmla="*/ 0 w 180975"/>
                    <a:gd name="connsiteY2" fmla="*/ 119063 h 215265"/>
                    <a:gd name="connsiteX3" fmla="*/ 90488 w 180975"/>
                    <a:gd name="connsiteY3" fmla="*/ 0 h 215265"/>
                    <a:gd name="connsiteX4" fmla="*/ 180975 w 180975"/>
                    <a:gd name="connsiteY4" fmla="*/ 119063 h 215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975" h="215265">
                      <a:moveTo>
                        <a:pt x="180975" y="119063"/>
                      </a:moveTo>
                      <a:cubicBezTo>
                        <a:pt x="180975" y="184785"/>
                        <a:pt x="140970" y="215265"/>
                        <a:pt x="90488" y="215265"/>
                      </a:cubicBezTo>
                      <a:cubicBezTo>
                        <a:pt x="40957" y="215265"/>
                        <a:pt x="0" y="184785"/>
                        <a:pt x="0" y="119063"/>
                      </a:cubicBezTo>
                      <a:cubicBezTo>
                        <a:pt x="0" y="53340"/>
                        <a:pt x="40005" y="0"/>
                        <a:pt x="90488" y="0"/>
                      </a:cubicBezTo>
                      <a:cubicBezTo>
                        <a:pt x="140018" y="0"/>
                        <a:pt x="180975" y="53340"/>
                        <a:pt x="180975" y="11906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" name="任意多边形 241">
                  <a:extLst>
                    <a:ext uri="{FF2B5EF4-FFF2-40B4-BE49-F238E27FC236}">
                      <a16:creationId xmlns:a16="http://schemas.microsoft.com/office/drawing/2014/main" id="{C231C7FB-A016-0C6A-7A05-8E3BD507B5FB}"/>
                    </a:ext>
                  </a:extLst>
                </p:cNvPr>
                <p:cNvSpPr/>
                <p:nvPr/>
              </p:nvSpPr>
              <p:spPr>
                <a:xfrm>
                  <a:off x="2737484" y="2132647"/>
                  <a:ext cx="217170" cy="259080"/>
                </a:xfrm>
                <a:custGeom>
                  <a:avLst/>
                  <a:gdLst>
                    <a:gd name="connsiteX0" fmla="*/ 217170 w 217170"/>
                    <a:gd name="connsiteY0" fmla="*/ 142875 h 259080"/>
                    <a:gd name="connsiteX1" fmla="*/ 108585 w 217170"/>
                    <a:gd name="connsiteY1" fmla="*/ 259080 h 259080"/>
                    <a:gd name="connsiteX2" fmla="*/ 0 w 217170"/>
                    <a:gd name="connsiteY2" fmla="*/ 142875 h 259080"/>
                    <a:gd name="connsiteX3" fmla="*/ 108585 w 217170"/>
                    <a:gd name="connsiteY3" fmla="*/ 0 h 259080"/>
                    <a:gd name="connsiteX4" fmla="*/ 217170 w 217170"/>
                    <a:gd name="connsiteY4" fmla="*/ 142875 h 259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70" h="259080">
                      <a:moveTo>
                        <a:pt x="217170" y="142875"/>
                      </a:moveTo>
                      <a:cubicBezTo>
                        <a:pt x="217170" y="221933"/>
                        <a:pt x="168593" y="259080"/>
                        <a:pt x="108585" y="259080"/>
                      </a:cubicBezTo>
                      <a:cubicBezTo>
                        <a:pt x="48578" y="259080"/>
                        <a:pt x="0" y="222885"/>
                        <a:pt x="0" y="142875"/>
                      </a:cubicBezTo>
                      <a:cubicBezTo>
                        <a:pt x="0" y="63818"/>
                        <a:pt x="48578" y="0"/>
                        <a:pt x="108585" y="0"/>
                      </a:cubicBezTo>
                      <a:cubicBezTo>
                        <a:pt x="168593" y="0"/>
                        <a:pt x="217170" y="63818"/>
                        <a:pt x="217170" y="142875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5" name="任意多边形 242">
                  <a:extLst>
                    <a:ext uri="{FF2B5EF4-FFF2-40B4-BE49-F238E27FC236}">
                      <a16:creationId xmlns:a16="http://schemas.microsoft.com/office/drawing/2014/main" id="{516B6B45-BC30-325E-96E3-A73F0D8DE9A6}"/>
                    </a:ext>
                  </a:extLst>
                </p:cNvPr>
                <p:cNvSpPr/>
                <p:nvPr/>
              </p:nvSpPr>
              <p:spPr>
                <a:xfrm>
                  <a:off x="3108959" y="2200275"/>
                  <a:ext cx="217169" cy="218122"/>
                </a:xfrm>
                <a:custGeom>
                  <a:avLst/>
                  <a:gdLst>
                    <a:gd name="connsiteX0" fmla="*/ 217170 w 217169"/>
                    <a:gd name="connsiteY0" fmla="*/ 120967 h 218122"/>
                    <a:gd name="connsiteX1" fmla="*/ 108585 w 217169"/>
                    <a:gd name="connsiteY1" fmla="*/ 218122 h 218122"/>
                    <a:gd name="connsiteX2" fmla="*/ 0 w 217169"/>
                    <a:gd name="connsiteY2" fmla="*/ 120967 h 218122"/>
                    <a:gd name="connsiteX3" fmla="*/ 108585 w 217169"/>
                    <a:gd name="connsiteY3" fmla="*/ 0 h 218122"/>
                    <a:gd name="connsiteX4" fmla="*/ 217170 w 217169"/>
                    <a:gd name="connsiteY4" fmla="*/ 120967 h 218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69" h="218122">
                      <a:moveTo>
                        <a:pt x="217170" y="120967"/>
                      </a:moveTo>
                      <a:cubicBezTo>
                        <a:pt x="217170" y="187642"/>
                        <a:pt x="168592" y="218122"/>
                        <a:pt x="108585" y="218122"/>
                      </a:cubicBezTo>
                      <a:cubicBezTo>
                        <a:pt x="48577" y="218122"/>
                        <a:pt x="0" y="187642"/>
                        <a:pt x="0" y="120967"/>
                      </a:cubicBezTo>
                      <a:cubicBezTo>
                        <a:pt x="0" y="54292"/>
                        <a:pt x="48577" y="0"/>
                        <a:pt x="108585" y="0"/>
                      </a:cubicBezTo>
                      <a:cubicBezTo>
                        <a:pt x="168592" y="0"/>
                        <a:pt x="217170" y="54292"/>
                        <a:pt x="217170" y="120967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6" name="任意多边形 243">
                  <a:extLst>
                    <a:ext uri="{FF2B5EF4-FFF2-40B4-BE49-F238E27FC236}">
                      <a16:creationId xmlns:a16="http://schemas.microsoft.com/office/drawing/2014/main" id="{B11CA1F0-259E-C01B-F82B-C53C01ED3AC8}"/>
                    </a:ext>
                  </a:extLst>
                </p:cNvPr>
                <p:cNvSpPr/>
                <p:nvPr/>
              </p:nvSpPr>
              <p:spPr>
                <a:xfrm>
                  <a:off x="3016567" y="2297429"/>
                  <a:ext cx="142875" cy="144779"/>
                </a:xfrm>
                <a:custGeom>
                  <a:avLst/>
                  <a:gdLst>
                    <a:gd name="connsiteX0" fmla="*/ 142875 w 142875"/>
                    <a:gd name="connsiteY0" fmla="*/ 80010 h 144779"/>
                    <a:gd name="connsiteX1" fmla="*/ 71438 w 142875"/>
                    <a:gd name="connsiteY1" fmla="*/ 144780 h 144779"/>
                    <a:gd name="connsiteX2" fmla="*/ 0 w 142875"/>
                    <a:gd name="connsiteY2" fmla="*/ 80010 h 144779"/>
                    <a:gd name="connsiteX3" fmla="*/ 71438 w 142875"/>
                    <a:gd name="connsiteY3" fmla="*/ 0 h 144779"/>
                    <a:gd name="connsiteX4" fmla="*/ 142875 w 142875"/>
                    <a:gd name="connsiteY4" fmla="*/ 80010 h 144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875" h="144779">
                      <a:moveTo>
                        <a:pt x="142875" y="80010"/>
                      </a:moveTo>
                      <a:cubicBezTo>
                        <a:pt x="142875" y="123825"/>
                        <a:pt x="110490" y="144780"/>
                        <a:pt x="71438" y="144780"/>
                      </a:cubicBezTo>
                      <a:cubicBezTo>
                        <a:pt x="31432" y="144780"/>
                        <a:pt x="0" y="124778"/>
                        <a:pt x="0" y="80010"/>
                      </a:cubicBezTo>
                      <a:cubicBezTo>
                        <a:pt x="0" y="36195"/>
                        <a:pt x="32385" y="0"/>
                        <a:pt x="71438" y="0"/>
                      </a:cubicBezTo>
                      <a:cubicBezTo>
                        <a:pt x="110490" y="0"/>
                        <a:pt x="142875" y="36195"/>
                        <a:pt x="142875" y="8001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7" name="任意多边形 244">
                  <a:extLst>
                    <a:ext uri="{FF2B5EF4-FFF2-40B4-BE49-F238E27FC236}">
                      <a16:creationId xmlns:a16="http://schemas.microsoft.com/office/drawing/2014/main" id="{586CF587-9D97-4255-DA4C-B38AAB58227C}"/>
                    </a:ext>
                  </a:extLst>
                </p:cNvPr>
                <p:cNvSpPr/>
                <p:nvPr/>
              </p:nvSpPr>
              <p:spPr>
                <a:xfrm>
                  <a:off x="3274694" y="2323147"/>
                  <a:ext cx="167640" cy="167640"/>
                </a:xfrm>
                <a:custGeom>
                  <a:avLst/>
                  <a:gdLst>
                    <a:gd name="connsiteX0" fmla="*/ 167640 w 167640"/>
                    <a:gd name="connsiteY0" fmla="*/ 92393 h 167640"/>
                    <a:gd name="connsiteX1" fmla="*/ 83820 w 167640"/>
                    <a:gd name="connsiteY1" fmla="*/ 167640 h 167640"/>
                    <a:gd name="connsiteX2" fmla="*/ 0 w 167640"/>
                    <a:gd name="connsiteY2" fmla="*/ 92393 h 167640"/>
                    <a:gd name="connsiteX3" fmla="*/ 83820 w 167640"/>
                    <a:gd name="connsiteY3" fmla="*/ 0 h 167640"/>
                    <a:gd name="connsiteX4" fmla="*/ 167640 w 167640"/>
                    <a:gd name="connsiteY4" fmla="*/ 92393 h 1676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167640">
                      <a:moveTo>
                        <a:pt x="167640" y="92393"/>
                      </a:moveTo>
                      <a:cubicBezTo>
                        <a:pt x="167640" y="143828"/>
                        <a:pt x="130493" y="167640"/>
                        <a:pt x="83820" y="167640"/>
                      </a:cubicBezTo>
                      <a:cubicBezTo>
                        <a:pt x="38100" y="167640"/>
                        <a:pt x="0" y="143828"/>
                        <a:pt x="0" y="92393"/>
                      </a:cubicBezTo>
                      <a:cubicBezTo>
                        <a:pt x="0" y="40958"/>
                        <a:pt x="37148" y="0"/>
                        <a:pt x="83820" y="0"/>
                      </a:cubicBezTo>
                      <a:cubicBezTo>
                        <a:pt x="129540" y="0"/>
                        <a:pt x="167640" y="40958"/>
                        <a:pt x="167640" y="9239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7" name="任意多边形 245">
                <a:extLst>
                  <a:ext uri="{FF2B5EF4-FFF2-40B4-BE49-F238E27FC236}">
                    <a16:creationId xmlns:a16="http://schemas.microsoft.com/office/drawing/2014/main" id="{AB751308-8BC0-4377-BDE8-3F3FEBA2D368}"/>
                  </a:ext>
                </a:extLst>
              </p:cNvPr>
              <p:cNvSpPr/>
              <p:nvPr/>
            </p:nvSpPr>
            <p:spPr>
              <a:xfrm>
                <a:off x="2830829" y="2681287"/>
                <a:ext cx="247650" cy="92392"/>
              </a:xfrm>
              <a:custGeom>
                <a:avLst/>
                <a:gdLst>
                  <a:gd name="connsiteX0" fmla="*/ 65723 w 247650"/>
                  <a:gd name="connsiteY0" fmla="*/ 26670 h 92392"/>
                  <a:gd name="connsiteX1" fmla="*/ 86677 w 247650"/>
                  <a:gd name="connsiteY1" fmla="*/ 30480 h 92392"/>
                  <a:gd name="connsiteX2" fmla="*/ 155258 w 247650"/>
                  <a:gd name="connsiteY2" fmla="*/ 0 h 92392"/>
                  <a:gd name="connsiteX3" fmla="*/ 247650 w 247650"/>
                  <a:gd name="connsiteY3" fmla="*/ 92393 h 92392"/>
                  <a:gd name="connsiteX4" fmla="*/ 130493 w 247650"/>
                  <a:gd name="connsiteY4" fmla="*/ 92393 h 92392"/>
                  <a:gd name="connsiteX5" fmla="*/ 61913 w 247650"/>
                  <a:gd name="connsiteY5" fmla="*/ 92393 h 92392"/>
                  <a:gd name="connsiteX6" fmla="*/ 0 w 247650"/>
                  <a:gd name="connsiteY6" fmla="*/ 92393 h 92392"/>
                  <a:gd name="connsiteX7" fmla="*/ 65723 w 247650"/>
                  <a:gd name="connsiteY7" fmla="*/ 26670 h 92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7650" h="92392">
                    <a:moveTo>
                      <a:pt x="65723" y="26670"/>
                    </a:moveTo>
                    <a:cubicBezTo>
                      <a:pt x="73343" y="26670"/>
                      <a:pt x="80010" y="27622"/>
                      <a:pt x="86677" y="30480"/>
                    </a:cubicBezTo>
                    <a:cubicBezTo>
                      <a:pt x="103823" y="11430"/>
                      <a:pt x="127635" y="0"/>
                      <a:pt x="155258" y="0"/>
                    </a:cubicBezTo>
                    <a:cubicBezTo>
                      <a:pt x="206693" y="0"/>
                      <a:pt x="247650" y="40957"/>
                      <a:pt x="247650" y="92393"/>
                    </a:cubicBezTo>
                    <a:lnTo>
                      <a:pt x="130493" y="92393"/>
                    </a:lnTo>
                    <a:lnTo>
                      <a:pt x="61913" y="92393"/>
                    </a:lnTo>
                    <a:lnTo>
                      <a:pt x="0" y="92393"/>
                    </a:lnTo>
                    <a:cubicBezTo>
                      <a:pt x="0" y="56197"/>
                      <a:pt x="29528" y="26670"/>
                      <a:pt x="65723" y="2667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pic>
        <p:nvPicPr>
          <p:cNvPr id="3" name="Picture 2" descr="Table&#10;&#10;Description automatically generated">
            <a:extLst>
              <a:ext uri="{FF2B5EF4-FFF2-40B4-BE49-F238E27FC236}">
                <a16:creationId xmlns:a16="http://schemas.microsoft.com/office/drawing/2014/main" id="{10FA3D4F-87AF-D040-0D8A-48F75CE3CE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600" y="2035277"/>
            <a:ext cx="5010297" cy="3179110"/>
          </a:xfrm>
          <a:prstGeom prst="rect">
            <a:avLst/>
          </a:prstGeom>
        </p:spPr>
      </p:pic>
      <p:pic>
        <p:nvPicPr>
          <p:cNvPr id="91" name="Picture 90" descr="Text&#10;&#10;Description automatically generated">
            <a:extLst>
              <a:ext uri="{FF2B5EF4-FFF2-40B4-BE49-F238E27FC236}">
                <a16:creationId xmlns:a16="http://schemas.microsoft.com/office/drawing/2014/main" id="{21282C0D-DD5E-7366-36D6-92F44527E4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53114" y="2619920"/>
            <a:ext cx="5943600" cy="168084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663639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RCNN Result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pic>
        <p:nvPicPr>
          <p:cNvPr id="87" name="Picture 86" descr="Graphical user interface, application, PowerPoint&#10;&#10;Description automatically generated">
            <a:extLst>
              <a:ext uri="{FF2B5EF4-FFF2-40B4-BE49-F238E27FC236}">
                <a16:creationId xmlns:a16="http://schemas.microsoft.com/office/drawing/2014/main" id="{4251A8CC-5DF2-9D40-0EBB-3F0069BC8B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9648" y="1608197"/>
            <a:ext cx="8005895" cy="5106129"/>
          </a:xfrm>
          <a:prstGeom prst="rect">
            <a:avLst/>
          </a:prstGeom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id="{53AEBE10-78EA-A5B6-83CC-16535901F689}"/>
              </a:ext>
            </a:extLst>
          </p:cNvPr>
          <p:cNvSpPr txBox="1"/>
          <p:nvPr/>
        </p:nvSpPr>
        <p:spPr>
          <a:xfrm>
            <a:off x="5486401" y="1238865"/>
            <a:ext cx="21385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poch = 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082036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RCNN Result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53AEBE10-78EA-A5B6-83CC-16535901F689}"/>
              </a:ext>
            </a:extLst>
          </p:cNvPr>
          <p:cNvSpPr txBox="1"/>
          <p:nvPr/>
        </p:nvSpPr>
        <p:spPr>
          <a:xfrm>
            <a:off x="5486401" y="1238865"/>
            <a:ext cx="21385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poch = 20</a:t>
            </a:r>
          </a:p>
        </p:txBody>
      </p:sp>
      <p:pic>
        <p:nvPicPr>
          <p:cNvPr id="3" name="Picture 2" descr="A picture containing text, tree, plant&#10;&#10;Description automatically generated">
            <a:extLst>
              <a:ext uri="{FF2B5EF4-FFF2-40B4-BE49-F238E27FC236}">
                <a16:creationId xmlns:a16="http://schemas.microsoft.com/office/drawing/2014/main" id="{3F3F1B58-DF4A-14AA-9396-48A9342DB4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19792" y="1608197"/>
            <a:ext cx="7550826" cy="505851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321067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444245" y="2687108"/>
            <a:ext cx="5419185" cy="895350"/>
          </a:xfrm>
        </p:spPr>
        <p:txBody>
          <a:bodyPr>
            <a:normAutofit/>
          </a:bodyPr>
          <a:lstStyle/>
          <a:p>
            <a:r>
              <a:rPr lang="en-US" altLang="zh-CN" sz="3600" dirty="0"/>
              <a:t>Autoencoder</a:t>
            </a:r>
            <a:endParaRPr lang="zh-CN" altLang="en-US" sz="3600" dirty="0"/>
          </a:p>
        </p:txBody>
      </p:sp>
      <p:sp>
        <p:nvSpPr>
          <p:cNvPr id="9" name="文本框 8"/>
          <p:cNvSpPr txBox="1"/>
          <p:nvPr/>
        </p:nvSpPr>
        <p:spPr>
          <a:xfrm>
            <a:off x="4218890" y="2853416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hat is Autoencoder</a:t>
            </a:r>
            <a:r>
              <a:rPr lang="zh-CN" altLang="en-US" dirty="0"/>
              <a:t>？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7</a:t>
            </a:fld>
            <a:endParaRPr lang="zh-CN" altLang="en-US"/>
          </a:p>
        </p:txBody>
      </p:sp>
      <p:grpSp>
        <p:nvGrpSpPr>
          <p:cNvPr id="5" name="组合 4"/>
          <p:cNvGrpSpPr/>
          <p:nvPr/>
        </p:nvGrpSpPr>
        <p:grpSpPr>
          <a:xfrm>
            <a:off x="8358909" y="5477164"/>
            <a:ext cx="3719729" cy="1298762"/>
            <a:chOff x="2772569" y="2151697"/>
            <a:chExt cx="6719888" cy="2554605"/>
          </a:xfrm>
        </p:grpSpPr>
        <p:grpSp>
          <p:nvGrpSpPr>
            <p:cNvPr id="6" name="组合 5"/>
            <p:cNvGrpSpPr/>
            <p:nvPr/>
          </p:nvGrpSpPr>
          <p:grpSpPr>
            <a:xfrm>
              <a:off x="7873207" y="2151697"/>
              <a:ext cx="1093469" cy="2553652"/>
              <a:chOff x="7838122" y="219075"/>
              <a:chExt cx="1093469" cy="2553652"/>
            </a:xfrm>
          </p:grpSpPr>
          <p:sp>
            <p:nvSpPr>
              <p:cNvPr id="79" name="任意多边形 157"/>
              <p:cNvSpPr/>
              <p:nvPr/>
            </p:nvSpPr>
            <p:spPr>
              <a:xfrm>
                <a:off x="8309609" y="280987"/>
                <a:ext cx="151447" cy="2491740"/>
              </a:xfrm>
              <a:custGeom>
                <a:avLst/>
                <a:gdLst>
                  <a:gd name="connsiteX0" fmla="*/ 151447 w 151447"/>
                  <a:gd name="connsiteY0" fmla="*/ 2491740 h 2491740"/>
                  <a:gd name="connsiteX1" fmla="*/ 0 w 151447"/>
                  <a:gd name="connsiteY1" fmla="*/ 2491740 h 2491740"/>
                  <a:gd name="connsiteX2" fmla="*/ 52388 w 151447"/>
                  <a:gd name="connsiteY2" fmla="*/ 0 h 2491740"/>
                  <a:gd name="connsiteX3" fmla="*/ 99060 w 151447"/>
                  <a:gd name="connsiteY3" fmla="*/ 0 h 249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1447" h="2491740">
                    <a:moveTo>
                      <a:pt x="151447" y="2491740"/>
                    </a:moveTo>
                    <a:lnTo>
                      <a:pt x="0" y="2491740"/>
                    </a:lnTo>
                    <a:lnTo>
                      <a:pt x="52388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80" name="组合 79"/>
              <p:cNvGrpSpPr/>
              <p:nvPr/>
            </p:nvGrpSpPr>
            <p:grpSpPr>
              <a:xfrm>
                <a:off x="7838122" y="219075"/>
                <a:ext cx="1093469" cy="1788795"/>
                <a:chOff x="7838122" y="219075"/>
                <a:chExt cx="1093469" cy="1788795"/>
              </a:xfrm>
            </p:grpSpPr>
            <p:sp>
              <p:nvSpPr>
                <p:cNvPr id="81" name="任意多边形 159"/>
                <p:cNvSpPr/>
                <p:nvPr/>
              </p:nvSpPr>
              <p:spPr>
                <a:xfrm>
                  <a:off x="7838122" y="1418272"/>
                  <a:ext cx="1093469" cy="589597"/>
                </a:xfrm>
                <a:custGeom>
                  <a:avLst/>
                  <a:gdLst>
                    <a:gd name="connsiteX0" fmla="*/ 542925 w 1093469"/>
                    <a:gd name="connsiteY0" fmla="*/ 0 h 589597"/>
                    <a:gd name="connsiteX1" fmla="*/ 0 w 1093469"/>
                    <a:gd name="connsiteY1" fmla="*/ 589598 h 589597"/>
                    <a:gd name="connsiteX2" fmla="*/ 546735 w 1093469"/>
                    <a:gd name="connsiteY2" fmla="*/ 589598 h 589597"/>
                    <a:gd name="connsiteX3" fmla="*/ 1093470 w 1093469"/>
                    <a:gd name="connsiteY3" fmla="*/ 589598 h 589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93469" h="589597">
                      <a:moveTo>
                        <a:pt x="542925" y="0"/>
                      </a:moveTo>
                      <a:lnTo>
                        <a:pt x="0" y="589598"/>
                      </a:lnTo>
                      <a:lnTo>
                        <a:pt x="546735" y="589598"/>
                      </a:lnTo>
                      <a:lnTo>
                        <a:pt x="1093470" y="589598"/>
                      </a:ln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2" name="任意多边形 160"/>
                <p:cNvSpPr/>
                <p:nvPr/>
              </p:nvSpPr>
              <p:spPr>
                <a:xfrm>
                  <a:off x="7892414" y="1091564"/>
                  <a:ext cx="979170" cy="480060"/>
                </a:xfrm>
                <a:custGeom>
                  <a:avLst/>
                  <a:gdLst>
                    <a:gd name="connsiteX0" fmla="*/ 486728 w 979170"/>
                    <a:gd name="connsiteY0" fmla="*/ 0 h 480060"/>
                    <a:gd name="connsiteX1" fmla="*/ 0 w 979170"/>
                    <a:gd name="connsiteY1" fmla="*/ 480060 h 480060"/>
                    <a:gd name="connsiteX2" fmla="*/ 489585 w 979170"/>
                    <a:gd name="connsiteY2" fmla="*/ 480060 h 480060"/>
                    <a:gd name="connsiteX3" fmla="*/ 979170 w 979170"/>
                    <a:gd name="connsiteY3" fmla="*/ 480060 h 4800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9170" h="480060">
                      <a:moveTo>
                        <a:pt x="486728" y="0"/>
                      </a:moveTo>
                      <a:lnTo>
                        <a:pt x="0" y="480060"/>
                      </a:lnTo>
                      <a:lnTo>
                        <a:pt x="489585" y="480060"/>
                      </a:lnTo>
                      <a:lnTo>
                        <a:pt x="979170" y="480060"/>
                      </a:ln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3" name="任意多边形 161"/>
                <p:cNvSpPr/>
                <p:nvPr/>
              </p:nvSpPr>
              <p:spPr>
                <a:xfrm>
                  <a:off x="7937181" y="819150"/>
                  <a:ext cx="886777" cy="398145"/>
                </a:xfrm>
                <a:custGeom>
                  <a:avLst/>
                  <a:gdLst>
                    <a:gd name="connsiteX0" fmla="*/ 441007 w 886777"/>
                    <a:gd name="connsiteY0" fmla="*/ 0 h 398145"/>
                    <a:gd name="connsiteX1" fmla="*/ 0 w 886777"/>
                    <a:gd name="connsiteY1" fmla="*/ 398145 h 398145"/>
                    <a:gd name="connsiteX2" fmla="*/ 442913 w 886777"/>
                    <a:gd name="connsiteY2" fmla="*/ 398145 h 398145"/>
                    <a:gd name="connsiteX3" fmla="*/ 886778 w 886777"/>
                    <a:gd name="connsiteY3" fmla="*/ 398145 h 3981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86777" h="398145">
                      <a:moveTo>
                        <a:pt x="441007" y="0"/>
                      </a:moveTo>
                      <a:lnTo>
                        <a:pt x="0" y="398145"/>
                      </a:lnTo>
                      <a:lnTo>
                        <a:pt x="442913" y="398145"/>
                      </a:lnTo>
                      <a:lnTo>
                        <a:pt x="886778" y="398145"/>
                      </a:ln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4" name="任意多边形 162"/>
                <p:cNvSpPr/>
                <p:nvPr/>
              </p:nvSpPr>
              <p:spPr>
                <a:xfrm>
                  <a:off x="7973376" y="587692"/>
                  <a:ext cx="809625" cy="336232"/>
                </a:xfrm>
                <a:custGeom>
                  <a:avLst/>
                  <a:gdLst>
                    <a:gd name="connsiteX0" fmla="*/ 402908 w 809625"/>
                    <a:gd name="connsiteY0" fmla="*/ 0 h 336232"/>
                    <a:gd name="connsiteX1" fmla="*/ 0 w 809625"/>
                    <a:gd name="connsiteY1" fmla="*/ 336233 h 336232"/>
                    <a:gd name="connsiteX2" fmla="*/ 404813 w 809625"/>
                    <a:gd name="connsiteY2" fmla="*/ 336233 h 336232"/>
                    <a:gd name="connsiteX3" fmla="*/ 809625 w 809625"/>
                    <a:gd name="connsiteY3" fmla="*/ 336233 h 336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9625" h="336232">
                      <a:moveTo>
                        <a:pt x="402908" y="0"/>
                      </a:moveTo>
                      <a:lnTo>
                        <a:pt x="0" y="336233"/>
                      </a:lnTo>
                      <a:lnTo>
                        <a:pt x="404813" y="336233"/>
                      </a:lnTo>
                      <a:lnTo>
                        <a:pt x="809625" y="336233"/>
                      </a:lnTo>
                      <a:close/>
                    </a:path>
                  </a:pathLst>
                </a:custGeom>
                <a:solidFill>
                  <a:srgbClr val="45BC5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5" name="任意多边形 163"/>
                <p:cNvSpPr/>
                <p:nvPr/>
              </p:nvSpPr>
              <p:spPr>
                <a:xfrm>
                  <a:off x="8003856" y="390525"/>
                  <a:ext cx="745807" cy="286702"/>
                </a:xfrm>
                <a:custGeom>
                  <a:avLst/>
                  <a:gdLst>
                    <a:gd name="connsiteX0" fmla="*/ 371475 w 745807"/>
                    <a:gd name="connsiteY0" fmla="*/ 0 h 286702"/>
                    <a:gd name="connsiteX1" fmla="*/ 0 w 745807"/>
                    <a:gd name="connsiteY1" fmla="*/ 286703 h 286702"/>
                    <a:gd name="connsiteX2" fmla="*/ 373380 w 745807"/>
                    <a:gd name="connsiteY2" fmla="*/ 286703 h 286702"/>
                    <a:gd name="connsiteX3" fmla="*/ 745807 w 745807"/>
                    <a:gd name="connsiteY3" fmla="*/ 286703 h 286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5807" h="286702">
                      <a:moveTo>
                        <a:pt x="371475" y="0"/>
                      </a:moveTo>
                      <a:lnTo>
                        <a:pt x="0" y="286703"/>
                      </a:lnTo>
                      <a:lnTo>
                        <a:pt x="373380" y="286703"/>
                      </a:lnTo>
                      <a:lnTo>
                        <a:pt x="745807" y="286703"/>
                      </a:ln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6" name="任意多边形 164"/>
                <p:cNvSpPr/>
                <p:nvPr/>
              </p:nvSpPr>
              <p:spPr>
                <a:xfrm>
                  <a:off x="8030526" y="219075"/>
                  <a:ext cx="690562" cy="248602"/>
                </a:xfrm>
                <a:custGeom>
                  <a:avLst/>
                  <a:gdLst>
                    <a:gd name="connsiteX0" fmla="*/ 343853 w 690562"/>
                    <a:gd name="connsiteY0" fmla="*/ 0 h 248602"/>
                    <a:gd name="connsiteX1" fmla="*/ 0 w 690562"/>
                    <a:gd name="connsiteY1" fmla="*/ 248603 h 248602"/>
                    <a:gd name="connsiteX2" fmla="*/ 344805 w 690562"/>
                    <a:gd name="connsiteY2" fmla="*/ 248603 h 248602"/>
                    <a:gd name="connsiteX3" fmla="*/ 690563 w 690562"/>
                    <a:gd name="connsiteY3" fmla="*/ 248603 h 2486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0562" h="248602">
                      <a:moveTo>
                        <a:pt x="343853" y="0"/>
                      </a:moveTo>
                      <a:lnTo>
                        <a:pt x="0" y="248603"/>
                      </a:lnTo>
                      <a:lnTo>
                        <a:pt x="344805" y="248603"/>
                      </a:lnTo>
                      <a:lnTo>
                        <a:pt x="690563" y="248603"/>
                      </a:ln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7" name="组合 6"/>
            <p:cNvGrpSpPr/>
            <p:nvPr/>
          </p:nvGrpSpPr>
          <p:grpSpPr>
            <a:xfrm>
              <a:off x="5240497" y="2258376"/>
              <a:ext cx="1892617" cy="2446972"/>
              <a:chOff x="5205412" y="325754"/>
              <a:chExt cx="1892617" cy="2446972"/>
            </a:xfrm>
          </p:grpSpPr>
          <p:sp>
            <p:nvSpPr>
              <p:cNvPr id="67" name="任意多边形 168"/>
              <p:cNvSpPr/>
              <p:nvPr/>
            </p:nvSpPr>
            <p:spPr>
              <a:xfrm>
                <a:off x="6055042" y="425767"/>
                <a:ext cx="194309" cy="2346960"/>
              </a:xfrm>
              <a:custGeom>
                <a:avLst/>
                <a:gdLst>
                  <a:gd name="connsiteX0" fmla="*/ 194310 w 194309"/>
                  <a:gd name="connsiteY0" fmla="*/ 2346960 h 2346960"/>
                  <a:gd name="connsiteX1" fmla="*/ 0 w 194309"/>
                  <a:gd name="connsiteY1" fmla="*/ 2346960 h 2346960"/>
                  <a:gd name="connsiteX2" fmla="*/ 66675 w 194309"/>
                  <a:gd name="connsiteY2" fmla="*/ 0 h 2346960"/>
                  <a:gd name="connsiteX3" fmla="*/ 127635 w 194309"/>
                  <a:gd name="connsiteY3" fmla="*/ 0 h 2346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4309" h="2346960">
                    <a:moveTo>
                      <a:pt x="194310" y="2346960"/>
                    </a:moveTo>
                    <a:lnTo>
                      <a:pt x="0" y="2346960"/>
                    </a:lnTo>
                    <a:lnTo>
                      <a:pt x="66675" y="0"/>
                    </a:lnTo>
                    <a:lnTo>
                      <a:pt x="127635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8" name="组合 67"/>
              <p:cNvGrpSpPr/>
              <p:nvPr/>
            </p:nvGrpSpPr>
            <p:grpSpPr>
              <a:xfrm>
                <a:off x="5205412" y="325754"/>
                <a:ext cx="1892617" cy="1728787"/>
                <a:chOff x="5205412" y="325754"/>
                <a:chExt cx="1892617" cy="1728787"/>
              </a:xfrm>
            </p:grpSpPr>
            <p:sp>
              <p:nvSpPr>
                <p:cNvPr id="69" name="任意多边形 170"/>
                <p:cNvSpPr/>
                <p:nvPr/>
              </p:nvSpPr>
              <p:spPr>
                <a:xfrm>
                  <a:off x="5354954" y="596264"/>
                  <a:ext cx="741044" cy="741045"/>
                </a:xfrm>
                <a:custGeom>
                  <a:avLst/>
                  <a:gdLst>
                    <a:gd name="connsiteX0" fmla="*/ 741045 w 741044"/>
                    <a:gd name="connsiteY0" fmla="*/ 370523 h 741045"/>
                    <a:gd name="connsiteX1" fmla="*/ 370522 w 741044"/>
                    <a:gd name="connsiteY1" fmla="*/ 741045 h 741045"/>
                    <a:gd name="connsiteX2" fmla="*/ 0 w 741044"/>
                    <a:gd name="connsiteY2" fmla="*/ 370523 h 741045"/>
                    <a:gd name="connsiteX3" fmla="*/ 370522 w 741044"/>
                    <a:gd name="connsiteY3" fmla="*/ 0 h 741045"/>
                    <a:gd name="connsiteX4" fmla="*/ 741045 w 741044"/>
                    <a:gd name="connsiteY4" fmla="*/ 370523 h 741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1044" h="741045">
                      <a:moveTo>
                        <a:pt x="741045" y="370523"/>
                      </a:moveTo>
                      <a:cubicBezTo>
                        <a:pt x="741045" y="575310"/>
                        <a:pt x="575310" y="741045"/>
                        <a:pt x="370522" y="741045"/>
                      </a:cubicBezTo>
                      <a:cubicBezTo>
                        <a:pt x="165735" y="741045"/>
                        <a:pt x="0" y="575310"/>
                        <a:pt x="0" y="370523"/>
                      </a:cubicBezTo>
                      <a:cubicBezTo>
                        <a:pt x="0" y="165735"/>
                        <a:pt x="165735" y="0"/>
                        <a:pt x="370522" y="0"/>
                      </a:cubicBezTo>
                      <a:cubicBezTo>
                        <a:pt x="574357" y="0"/>
                        <a:pt x="741045" y="165735"/>
                        <a:pt x="741045" y="370523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0" name="任意多边形 171"/>
                <p:cNvSpPr/>
                <p:nvPr/>
              </p:nvSpPr>
              <p:spPr>
                <a:xfrm>
                  <a:off x="6587489" y="866769"/>
                  <a:ext cx="510540" cy="510545"/>
                </a:xfrm>
                <a:custGeom>
                  <a:avLst/>
                  <a:gdLst>
                    <a:gd name="connsiteX0" fmla="*/ 510540 w 510540"/>
                    <a:gd name="connsiteY0" fmla="*/ 255276 h 510545"/>
                    <a:gd name="connsiteX1" fmla="*/ 255270 w 510540"/>
                    <a:gd name="connsiteY1" fmla="*/ 510546 h 510545"/>
                    <a:gd name="connsiteX2" fmla="*/ 0 w 510540"/>
                    <a:gd name="connsiteY2" fmla="*/ 255276 h 510545"/>
                    <a:gd name="connsiteX3" fmla="*/ 255270 w 510540"/>
                    <a:gd name="connsiteY3" fmla="*/ 6 h 510545"/>
                    <a:gd name="connsiteX4" fmla="*/ 510540 w 510540"/>
                    <a:gd name="connsiteY4" fmla="*/ 255276 h 5105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0540" h="510545">
                      <a:moveTo>
                        <a:pt x="510540" y="255276"/>
                      </a:moveTo>
                      <a:cubicBezTo>
                        <a:pt x="510540" y="396246"/>
                        <a:pt x="396240" y="510546"/>
                        <a:pt x="255270" y="510546"/>
                      </a:cubicBezTo>
                      <a:cubicBezTo>
                        <a:pt x="114300" y="510546"/>
                        <a:pt x="0" y="396246"/>
                        <a:pt x="0" y="255276"/>
                      </a:cubicBezTo>
                      <a:cubicBezTo>
                        <a:pt x="0" y="114306"/>
                        <a:pt x="114300" y="6"/>
                        <a:pt x="255270" y="6"/>
                      </a:cubicBezTo>
                      <a:cubicBezTo>
                        <a:pt x="396240" y="-947"/>
                        <a:pt x="510540" y="114306"/>
                        <a:pt x="510540" y="255276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1" name="任意多边形 172"/>
                <p:cNvSpPr/>
                <p:nvPr/>
              </p:nvSpPr>
              <p:spPr>
                <a:xfrm>
                  <a:off x="5427344" y="545782"/>
                  <a:ext cx="1508760" cy="1508759"/>
                </a:xfrm>
                <a:custGeom>
                  <a:avLst/>
                  <a:gdLst>
                    <a:gd name="connsiteX0" fmla="*/ 1508760 w 1508760"/>
                    <a:gd name="connsiteY0" fmla="*/ 754380 h 1508759"/>
                    <a:gd name="connsiteX1" fmla="*/ 754380 w 1508760"/>
                    <a:gd name="connsiteY1" fmla="*/ 1508760 h 1508759"/>
                    <a:gd name="connsiteX2" fmla="*/ 0 w 1508760"/>
                    <a:gd name="connsiteY2" fmla="*/ 754380 h 1508759"/>
                    <a:gd name="connsiteX3" fmla="*/ 754380 w 1508760"/>
                    <a:gd name="connsiteY3" fmla="*/ 0 h 1508759"/>
                    <a:gd name="connsiteX4" fmla="*/ 1508760 w 1508760"/>
                    <a:gd name="connsiteY4" fmla="*/ 754380 h 1508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760" h="1508759">
                      <a:moveTo>
                        <a:pt x="1508760" y="754380"/>
                      </a:moveTo>
                      <a:cubicBezTo>
                        <a:pt x="1508760" y="1170623"/>
                        <a:pt x="1171575" y="1508760"/>
                        <a:pt x="754380" y="1508760"/>
                      </a:cubicBezTo>
                      <a:cubicBezTo>
                        <a:pt x="338138" y="1508760"/>
                        <a:pt x="0" y="1171575"/>
                        <a:pt x="0" y="754380"/>
                      </a:cubicBezTo>
                      <a:cubicBezTo>
                        <a:pt x="0" y="338138"/>
                        <a:pt x="337185" y="0"/>
                        <a:pt x="754380" y="0"/>
                      </a:cubicBezTo>
                      <a:cubicBezTo>
                        <a:pt x="1171575" y="953"/>
                        <a:pt x="1508760" y="338138"/>
                        <a:pt x="1508760" y="754380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2" name="任意多边形 173"/>
                <p:cNvSpPr/>
                <p:nvPr/>
              </p:nvSpPr>
              <p:spPr>
                <a:xfrm>
                  <a:off x="5205412" y="1026795"/>
                  <a:ext cx="798194" cy="798195"/>
                </a:xfrm>
                <a:custGeom>
                  <a:avLst/>
                  <a:gdLst>
                    <a:gd name="connsiteX0" fmla="*/ 798195 w 798194"/>
                    <a:gd name="connsiteY0" fmla="*/ 399097 h 798195"/>
                    <a:gd name="connsiteX1" fmla="*/ 399097 w 798194"/>
                    <a:gd name="connsiteY1" fmla="*/ 798195 h 798195"/>
                    <a:gd name="connsiteX2" fmla="*/ 0 w 798194"/>
                    <a:gd name="connsiteY2" fmla="*/ 399097 h 798195"/>
                    <a:gd name="connsiteX3" fmla="*/ 399097 w 798194"/>
                    <a:gd name="connsiteY3" fmla="*/ 0 h 798195"/>
                    <a:gd name="connsiteX4" fmla="*/ 798195 w 798194"/>
                    <a:gd name="connsiteY4" fmla="*/ 399097 h 798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98194" h="798195">
                      <a:moveTo>
                        <a:pt x="798195" y="399097"/>
                      </a:moveTo>
                      <a:cubicBezTo>
                        <a:pt x="798195" y="619125"/>
                        <a:pt x="619125" y="798195"/>
                        <a:pt x="399097" y="798195"/>
                      </a:cubicBezTo>
                      <a:cubicBezTo>
                        <a:pt x="179070" y="798195"/>
                        <a:pt x="0" y="619125"/>
                        <a:pt x="0" y="399097"/>
                      </a:cubicBezTo>
                      <a:cubicBezTo>
                        <a:pt x="0" y="179070"/>
                        <a:pt x="179070" y="0"/>
                        <a:pt x="399097" y="0"/>
                      </a:cubicBezTo>
                      <a:cubicBezTo>
                        <a:pt x="619125" y="0"/>
                        <a:pt x="798195" y="179070"/>
                        <a:pt x="798195" y="399097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3" name="任意多边形 174"/>
                <p:cNvSpPr/>
                <p:nvPr/>
              </p:nvSpPr>
              <p:spPr>
                <a:xfrm>
                  <a:off x="6276021" y="1425892"/>
                  <a:ext cx="609600" cy="609600"/>
                </a:xfrm>
                <a:custGeom>
                  <a:avLst/>
                  <a:gdLst>
                    <a:gd name="connsiteX0" fmla="*/ 609600 w 609600"/>
                    <a:gd name="connsiteY0" fmla="*/ 304800 h 609600"/>
                    <a:gd name="connsiteX1" fmla="*/ 304800 w 609600"/>
                    <a:gd name="connsiteY1" fmla="*/ 609600 h 609600"/>
                    <a:gd name="connsiteX2" fmla="*/ 0 w 609600"/>
                    <a:gd name="connsiteY2" fmla="*/ 304800 h 609600"/>
                    <a:gd name="connsiteX3" fmla="*/ 304800 w 609600"/>
                    <a:gd name="connsiteY3" fmla="*/ 0 h 609600"/>
                    <a:gd name="connsiteX4" fmla="*/ 609600 w 609600"/>
                    <a:gd name="connsiteY4" fmla="*/ 304800 h 609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9600" h="609600">
                      <a:moveTo>
                        <a:pt x="609600" y="304800"/>
                      </a:moveTo>
                      <a:cubicBezTo>
                        <a:pt x="609600" y="473392"/>
                        <a:pt x="473393" y="609600"/>
                        <a:pt x="304800" y="609600"/>
                      </a:cubicBezTo>
                      <a:cubicBezTo>
                        <a:pt x="136208" y="609600"/>
                        <a:pt x="0" y="473392"/>
                        <a:pt x="0" y="304800"/>
                      </a:cubicBezTo>
                      <a:cubicBezTo>
                        <a:pt x="0" y="136208"/>
                        <a:pt x="136208" y="0"/>
                        <a:pt x="304800" y="0"/>
                      </a:cubicBezTo>
                      <a:cubicBezTo>
                        <a:pt x="473393" y="0"/>
                        <a:pt x="609600" y="136208"/>
                        <a:pt x="609600" y="30480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4" name="任意多边形 175"/>
                <p:cNvSpPr/>
                <p:nvPr/>
              </p:nvSpPr>
              <p:spPr>
                <a:xfrm>
                  <a:off x="5838824" y="325754"/>
                  <a:ext cx="1003934" cy="1003934"/>
                </a:xfrm>
                <a:custGeom>
                  <a:avLst/>
                  <a:gdLst>
                    <a:gd name="connsiteX0" fmla="*/ 1003935 w 1003934"/>
                    <a:gd name="connsiteY0" fmla="*/ 501968 h 1003934"/>
                    <a:gd name="connsiteX1" fmla="*/ 501968 w 1003934"/>
                    <a:gd name="connsiteY1" fmla="*/ 1003935 h 1003934"/>
                    <a:gd name="connsiteX2" fmla="*/ 0 w 1003934"/>
                    <a:gd name="connsiteY2" fmla="*/ 501968 h 1003934"/>
                    <a:gd name="connsiteX3" fmla="*/ 501968 w 1003934"/>
                    <a:gd name="connsiteY3" fmla="*/ 0 h 1003934"/>
                    <a:gd name="connsiteX4" fmla="*/ 1003935 w 1003934"/>
                    <a:gd name="connsiteY4" fmla="*/ 501968 h 1003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3934" h="1003934">
                      <a:moveTo>
                        <a:pt x="1003935" y="501968"/>
                      </a:moveTo>
                      <a:cubicBezTo>
                        <a:pt x="1003935" y="779145"/>
                        <a:pt x="779145" y="1003935"/>
                        <a:pt x="501968" y="1003935"/>
                      </a:cubicBezTo>
                      <a:cubicBezTo>
                        <a:pt x="224790" y="1003935"/>
                        <a:pt x="0" y="779145"/>
                        <a:pt x="0" y="501968"/>
                      </a:cubicBezTo>
                      <a:cubicBezTo>
                        <a:pt x="0" y="224790"/>
                        <a:pt x="224790" y="0"/>
                        <a:pt x="501968" y="0"/>
                      </a:cubicBezTo>
                      <a:cubicBezTo>
                        <a:pt x="779145" y="0"/>
                        <a:pt x="1003935" y="224790"/>
                        <a:pt x="1003935" y="501968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5" name="任意多边形 176"/>
                <p:cNvSpPr/>
                <p:nvPr/>
              </p:nvSpPr>
              <p:spPr>
                <a:xfrm>
                  <a:off x="6095046" y="1067752"/>
                  <a:ext cx="716280" cy="716280"/>
                </a:xfrm>
                <a:custGeom>
                  <a:avLst/>
                  <a:gdLst>
                    <a:gd name="connsiteX0" fmla="*/ 716280 w 716280"/>
                    <a:gd name="connsiteY0" fmla="*/ 358140 h 716280"/>
                    <a:gd name="connsiteX1" fmla="*/ 358140 w 716280"/>
                    <a:gd name="connsiteY1" fmla="*/ 716280 h 716280"/>
                    <a:gd name="connsiteX2" fmla="*/ 0 w 716280"/>
                    <a:gd name="connsiteY2" fmla="*/ 358140 h 716280"/>
                    <a:gd name="connsiteX3" fmla="*/ 358140 w 716280"/>
                    <a:gd name="connsiteY3" fmla="*/ 0 h 716280"/>
                    <a:gd name="connsiteX4" fmla="*/ 716280 w 716280"/>
                    <a:gd name="connsiteY4" fmla="*/ 358140 h 716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6280" h="716280">
                      <a:moveTo>
                        <a:pt x="716280" y="358140"/>
                      </a:moveTo>
                      <a:cubicBezTo>
                        <a:pt x="716280" y="556260"/>
                        <a:pt x="556260" y="716280"/>
                        <a:pt x="358140" y="716280"/>
                      </a:cubicBezTo>
                      <a:cubicBezTo>
                        <a:pt x="160020" y="716280"/>
                        <a:pt x="0" y="556260"/>
                        <a:pt x="0" y="358140"/>
                      </a:cubicBezTo>
                      <a:cubicBezTo>
                        <a:pt x="0" y="160020"/>
                        <a:pt x="160020" y="0"/>
                        <a:pt x="358140" y="0"/>
                      </a:cubicBezTo>
                      <a:cubicBezTo>
                        <a:pt x="556260" y="0"/>
                        <a:pt x="716280" y="160020"/>
                        <a:pt x="716280" y="35814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" name="任意多边形 177"/>
                <p:cNvSpPr/>
                <p:nvPr/>
              </p:nvSpPr>
              <p:spPr>
                <a:xfrm>
                  <a:off x="5825489" y="1122045"/>
                  <a:ext cx="356234" cy="356234"/>
                </a:xfrm>
                <a:custGeom>
                  <a:avLst/>
                  <a:gdLst>
                    <a:gd name="connsiteX0" fmla="*/ 356235 w 356234"/>
                    <a:gd name="connsiteY0" fmla="*/ 178117 h 356234"/>
                    <a:gd name="connsiteX1" fmla="*/ 178117 w 356234"/>
                    <a:gd name="connsiteY1" fmla="*/ 356235 h 356234"/>
                    <a:gd name="connsiteX2" fmla="*/ 0 w 356234"/>
                    <a:gd name="connsiteY2" fmla="*/ 178117 h 356234"/>
                    <a:gd name="connsiteX3" fmla="*/ 178117 w 356234"/>
                    <a:gd name="connsiteY3" fmla="*/ 0 h 356234"/>
                    <a:gd name="connsiteX4" fmla="*/ 356235 w 356234"/>
                    <a:gd name="connsiteY4" fmla="*/ 178117 h 3562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234" h="356234">
                      <a:moveTo>
                        <a:pt x="356235" y="178117"/>
                      </a:moveTo>
                      <a:cubicBezTo>
                        <a:pt x="356235" y="276225"/>
                        <a:pt x="276225" y="356235"/>
                        <a:pt x="178117" y="356235"/>
                      </a:cubicBezTo>
                      <a:cubicBezTo>
                        <a:pt x="80010" y="356235"/>
                        <a:pt x="0" y="276225"/>
                        <a:pt x="0" y="178117"/>
                      </a:cubicBezTo>
                      <a:cubicBezTo>
                        <a:pt x="0" y="80010"/>
                        <a:pt x="80010" y="0"/>
                        <a:pt x="178117" y="0"/>
                      </a:cubicBezTo>
                      <a:cubicBezTo>
                        <a:pt x="277178" y="0"/>
                        <a:pt x="356235" y="80010"/>
                        <a:pt x="356235" y="178117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7" name="任意多边形 178"/>
                <p:cNvSpPr/>
                <p:nvPr/>
              </p:nvSpPr>
              <p:spPr>
                <a:xfrm>
                  <a:off x="6644639" y="1199197"/>
                  <a:ext cx="419100" cy="419099"/>
                </a:xfrm>
                <a:custGeom>
                  <a:avLst/>
                  <a:gdLst>
                    <a:gd name="connsiteX0" fmla="*/ 419100 w 419100"/>
                    <a:gd name="connsiteY0" fmla="*/ 209550 h 419099"/>
                    <a:gd name="connsiteX1" fmla="*/ 209550 w 419100"/>
                    <a:gd name="connsiteY1" fmla="*/ 419100 h 419099"/>
                    <a:gd name="connsiteX2" fmla="*/ 0 w 419100"/>
                    <a:gd name="connsiteY2" fmla="*/ 209550 h 419099"/>
                    <a:gd name="connsiteX3" fmla="*/ 209550 w 419100"/>
                    <a:gd name="connsiteY3" fmla="*/ 0 h 419099"/>
                    <a:gd name="connsiteX4" fmla="*/ 419100 w 419100"/>
                    <a:gd name="connsiteY4" fmla="*/ 209550 h 419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9100" h="419099">
                      <a:moveTo>
                        <a:pt x="419100" y="209550"/>
                      </a:moveTo>
                      <a:cubicBezTo>
                        <a:pt x="419100" y="325755"/>
                        <a:pt x="324803" y="419100"/>
                        <a:pt x="209550" y="419100"/>
                      </a:cubicBezTo>
                      <a:cubicBezTo>
                        <a:pt x="93345" y="419100"/>
                        <a:pt x="0" y="324803"/>
                        <a:pt x="0" y="209550"/>
                      </a:cubicBezTo>
                      <a:cubicBezTo>
                        <a:pt x="0" y="93345"/>
                        <a:pt x="94297" y="0"/>
                        <a:pt x="209550" y="0"/>
                      </a:cubicBezTo>
                      <a:cubicBezTo>
                        <a:pt x="325755" y="0"/>
                        <a:pt x="419100" y="94298"/>
                        <a:pt x="419100" y="20955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8" name="任意多边形 179"/>
                <p:cNvSpPr/>
                <p:nvPr/>
              </p:nvSpPr>
              <p:spPr>
                <a:xfrm>
                  <a:off x="5653087" y="1349692"/>
                  <a:ext cx="499109" cy="499110"/>
                </a:xfrm>
                <a:custGeom>
                  <a:avLst/>
                  <a:gdLst>
                    <a:gd name="connsiteX0" fmla="*/ 499110 w 499109"/>
                    <a:gd name="connsiteY0" fmla="*/ 249555 h 499110"/>
                    <a:gd name="connsiteX1" fmla="*/ 249555 w 499109"/>
                    <a:gd name="connsiteY1" fmla="*/ 499110 h 499110"/>
                    <a:gd name="connsiteX2" fmla="*/ 0 w 499109"/>
                    <a:gd name="connsiteY2" fmla="*/ 249555 h 499110"/>
                    <a:gd name="connsiteX3" fmla="*/ 249555 w 499109"/>
                    <a:gd name="connsiteY3" fmla="*/ 0 h 499110"/>
                    <a:gd name="connsiteX4" fmla="*/ 499110 w 499109"/>
                    <a:gd name="connsiteY4" fmla="*/ 249555 h 499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9109" h="499110">
                      <a:moveTo>
                        <a:pt x="499110" y="249555"/>
                      </a:moveTo>
                      <a:cubicBezTo>
                        <a:pt x="499110" y="387667"/>
                        <a:pt x="387668" y="499110"/>
                        <a:pt x="249555" y="499110"/>
                      </a:cubicBezTo>
                      <a:cubicBezTo>
                        <a:pt x="111443" y="499110"/>
                        <a:pt x="0" y="387667"/>
                        <a:pt x="0" y="249555"/>
                      </a:cubicBezTo>
                      <a:cubicBezTo>
                        <a:pt x="0" y="111442"/>
                        <a:pt x="111443" y="0"/>
                        <a:pt x="249555" y="0"/>
                      </a:cubicBezTo>
                      <a:cubicBezTo>
                        <a:pt x="386715" y="0"/>
                        <a:pt x="499110" y="111442"/>
                        <a:pt x="499110" y="249555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8" name="组合 7"/>
            <p:cNvGrpSpPr/>
            <p:nvPr/>
          </p:nvGrpSpPr>
          <p:grpSpPr>
            <a:xfrm>
              <a:off x="3252047" y="2196916"/>
              <a:ext cx="995191" cy="2508433"/>
              <a:chOff x="3216962" y="264294"/>
              <a:chExt cx="995191" cy="2508433"/>
            </a:xfrm>
          </p:grpSpPr>
          <p:sp>
            <p:nvSpPr>
              <p:cNvPr id="56" name="任意多边形 183"/>
              <p:cNvSpPr/>
              <p:nvPr/>
            </p:nvSpPr>
            <p:spPr>
              <a:xfrm>
                <a:off x="3281110" y="264294"/>
                <a:ext cx="868010" cy="2011450"/>
              </a:xfrm>
              <a:custGeom>
                <a:avLst/>
                <a:gdLst>
                  <a:gd name="connsiteX0" fmla="*/ 526032 w 868010"/>
                  <a:gd name="connsiteY0" fmla="*/ 1999798 h 2011450"/>
                  <a:gd name="connsiteX1" fmla="*/ 838452 w 868010"/>
                  <a:gd name="connsiteY1" fmla="*/ 1649278 h 2011450"/>
                  <a:gd name="connsiteX2" fmla="*/ 768919 w 868010"/>
                  <a:gd name="connsiteY2" fmla="*/ 172903 h 2011450"/>
                  <a:gd name="connsiteX3" fmla="*/ 105979 w 868010"/>
                  <a:gd name="connsiteY3" fmla="*/ 97656 h 2011450"/>
                  <a:gd name="connsiteX4" fmla="*/ 35495 w 868010"/>
                  <a:gd name="connsiteY4" fmla="*/ 1321618 h 2011450"/>
                  <a:gd name="connsiteX5" fmla="*/ 526032 w 868010"/>
                  <a:gd name="connsiteY5" fmla="*/ 1999798 h 201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8010" h="2011450">
                    <a:moveTo>
                      <a:pt x="526032" y="1999798"/>
                    </a:moveTo>
                    <a:cubicBezTo>
                      <a:pt x="643190" y="1975033"/>
                      <a:pt x="826069" y="1932171"/>
                      <a:pt x="838452" y="1649278"/>
                    </a:cubicBezTo>
                    <a:cubicBezTo>
                      <a:pt x="850835" y="1367338"/>
                      <a:pt x="927987" y="352926"/>
                      <a:pt x="768919" y="172903"/>
                    </a:cubicBezTo>
                    <a:cubicBezTo>
                      <a:pt x="609852" y="-8072"/>
                      <a:pt x="305052" y="-69032"/>
                      <a:pt x="105979" y="97656"/>
                    </a:cubicBezTo>
                    <a:cubicBezTo>
                      <a:pt x="-93093" y="263391"/>
                      <a:pt x="52639" y="1125403"/>
                      <a:pt x="35495" y="1321618"/>
                    </a:cubicBezTo>
                    <a:cubicBezTo>
                      <a:pt x="17397" y="1517833"/>
                      <a:pt x="42162" y="2100763"/>
                      <a:pt x="526032" y="19997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 184"/>
              <p:cNvSpPr/>
              <p:nvPr/>
            </p:nvSpPr>
            <p:spPr>
              <a:xfrm>
                <a:off x="3702315" y="1480537"/>
                <a:ext cx="489368" cy="580319"/>
              </a:xfrm>
              <a:custGeom>
                <a:avLst/>
                <a:gdLst>
                  <a:gd name="connsiteX0" fmla="*/ 230556 w 489368"/>
                  <a:gd name="connsiteY0" fmla="*/ 579720 h 580319"/>
                  <a:gd name="connsiteX1" fmla="*/ 462966 w 489368"/>
                  <a:gd name="connsiteY1" fmla="*/ 432083 h 580319"/>
                  <a:gd name="connsiteX2" fmla="*/ 380099 w 489368"/>
                  <a:gd name="connsiteY2" fmla="*/ 32985 h 580319"/>
                  <a:gd name="connsiteX3" fmla="*/ 21006 w 489368"/>
                  <a:gd name="connsiteY3" fmla="*/ 136808 h 580319"/>
                  <a:gd name="connsiteX4" fmla="*/ 230556 w 489368"/>
                  <a:gd name="connsiteY4" fmla="*/ 579720 h 580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9368" h="580319">
                    <a:moveTo>
                      <a:pt x="230556" y="579720"/>
                    </a:moveTo>
                    <a:cubicBezTo>
                      <a:pt x="335331" y="573053"/>
                      <a:pt x="423914" y="542573"/>
                      <a:pt x="462966" y="432083"/>
                    </a:cubicBezTo>
                    <a:cubicBezTo>
                      <a:pt x="502019" y="321593"/>
                      <a:pt x="514401" y="113948"/>
                      <a:pt x="380099" y="32985"/>
                    </a:cubicBezTo>
                    <a:cubicBezTo>
                      <a:pt x="246749" y="-47977"/>
                      <a:pt x="58154" y="32985"/>
                      <a:pt x="21006" y="136808"/>
                    </a:cubicBezTo>
                    <a:cubicBezTo>
                      <a:pt x="-16141" y="241583"/>
                      <a:pt x="-33286" y="596865"/>
                      <a:pt x="230556" y="57972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 185"/>
              <p:cNvSpPr/>
              <p:nvPr/>
            </p:nvSpPr>
            <p:spPr>
              <a:xfrm>
                <a:off x="3653789" y="948689"/>
                <a:ext cx="150495" cy="1824037"/>
              </a:xfrm>
              <a:custGeom>
                <a:avLst/>
                <a:gdLst>
                  <a:gd name="connsiteX0" fmla="*/ 150495 w 150495"/>
                  <a:gd name="connsiteY0" fmla="*/ 1824038 h 1824037"/>
                  <a:gd name="connsiteX1" fmla="*/ 0 w 150495"/>
                  <a:gd name="connsiteY1" fmla="*/ 1824038 h 1824037"/>
                  <a:gd name="connsiteX2" fmla="*/ 51435 w 150495"/>
                  <a:gd name="connsiteY2" fmla="*/ 0 h 1824037"/>
                  <a:gd name="connsiteX3" fmla="*/ 99060 w 150495"/>
                  <a:gd name="connsiteY3" fmla="*/ 0 h 1824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495" h="1824037">
                    <a:moveTo>
                      <a:pt x="150495" y="1824038"/>
                    </a:moveTo>
                    <a:lnTo>
                      <a:pt x="0" y="1824038"/>
                    </a:lnTo>
                    <a:lnTo>
                      <a:pt x="51435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 186"/>
              <p:cNvSpPr/>
              <p:nvPr/>
            </p:nvSpPr>
            <p:spPr>
              <a:xfrm>
                <a:off x="3443804" y="838200"/>
                <a:ext cx="284279" cy="289560"/>
              </a:xfrm>
              <a:custGeom>
                <a:avLst/>
                <a:gdLst>
                  <a:gd name="connsiteX0" fmla="*/ 284280 w 284279"/>
                  <a:gd name="connsiteY0" fmla="*/ 235267 h 289560"/>
                  <a:gd name="connsiteX1" fmla="*/ 64252 w 284279"/>
                  <a:gd name="connsiteY1" fmla="*/ 0 h 289560"/>
                  <a:gd name="connsiteX2" fmla="*/ 435 w 284279"/>
                  <a:gd name="connsiteY2" fmla="*/ 20002 h 289560"/>
                  <a:gd name="connsiteX3" fmla="*/ 281422 w 284279"/>
                  <a:gd name="connsiteY3" fmla="*/ 289560 h 289560"/>
                  <a:gd name="connsiteX4" fmla="*/ 284280 w 284279"/>
                  <a:gd name="connsiteY4" fmla="*/ 235267 h 289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60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 187"/>
              <p:cNvSpPr/>
              <p:nvPr/>
            </p:nvSpPr>
            <p:spPr>
              <a:xfrm>
                <a:off x="3443804" y="1560195"/>
                <a:ext cx="284279" cy="289559"/>
              </a:xfrm>
              <a:custGeom>
                <a:avLst/>
                <a:gdLst>
                  <a:gd name="connsiteX0" fmla="*/ 284280 w 284279"/>
                  <a:gd name="connsiteY0" fmla="*/ 235267 h 289559"/>
                  <a:gd name="connsiteX1" fmla="*/ 64252 w 284279"/>
                  <a:gd name="connsiteY1" fmla="*/ 0 h 289559"/>
                  <a:gd name="connsiteX2" fmla="*/ 435 w 284279"/>
                  <a:gd name="connsiteY2" fmla="*/ 20002 h 289559"/>
                  <a:gd name="connsiteX3" fmla="*/ 281422 w 284279"/>
                  <a:gd name="connsiteY3" fmla="*/ 289560 h 289559"/>
                  <a:gd name="connsiteX4" fmla="*/ 284280 w 284279"/>
                  <a:gd name="connsiteY4" fmla="*/ 235267 h 289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59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 188"/>
              <p:cNvSpPr/>
              <p:nvPr/>
            </p:nvSpPr>
            <p:spPr>
              <a:xfrm>
                <a:off x="3724274" y="1116329"/>
                <a:ext cx="317182" cy="255270"/>
              </a:xfrm>
              <a:custGeom>
                <a:avLst/>
                <a:gdLst>
                  <a:gd name="connsiteX0" fmla="*/ 5715 w 317182"/>
                  <a:gd name="connsiteY0" fmla="*/ 200978 h 255270"/>
                  <a:gd name="connsiteX1" fmla="*/ 257175 w 317182"/>
                  <a:gd name="connsiteY1" fmla="*/ 0 h 255270"/>
                  <a:gd name="connsiteX2" fmla="*/ 317183 w 317182"/>
                  <a:gd name="connsiteY2" fmla="*/ 29528 h 255270"/>
                  <a:gd name="connsiteX3" fmla="*/ 0 w 317182"/>
                  <a:gd name="connsiteY3" fmla="*/ 255270 h 255270"/>
                  <a:gd name="connsiteX4" fmla="*/ 5715 w 317182"/>
                  <a:gd name="connsiteY4" fmla="*/ 200978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7182" h="255270">
                    <a:moveTo>
                      <a:pt x="5715" y="200978"/>
                    </a:moveTo>
                    <a:cubicBezTo>
                      <a:pt x="5715" y="200978"/>
                      <a:pt x="255270" y="248603"/>
                      <a:pt x="257175" y="0"/>
                    </a:cubicBezTo>
                    <a:lnTo>
                      <a:pt x="317183" y="29528"/>
                    </a:lnTo>
                    <a:cubicBezTo>
                      <a:pt x="317183" y="29528"/>
                      <a:pt x="308610" y="252413"/>
                      <a:pt x="0" y="255270"/>
                    </a:cubicBezTo>
                    <a:lnTo>
                      <a:pt x="5715" y="2009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 189"/>
              <p:cNvSpPr/>
              <p:nvPr/>
            </p:nvSpPr>
            <p:spPr>
              <a:xfrm>
                <a:off x="3741419" y="1302067"/>
                <a:ext cx="199239" cy="294322"/>
              </a:xfrm>
              <a:custGeom>
                <a:avLst/>
                <a:gdLst>
                  <a:gd name="connsiteX0" fmla="*/ 0 w 199239"/>
                  <a:gd name="connsiteY0" fmla="*/ 239078 h 294322"/>
                  <a:gd name="connsiteX1" fmla="*/ 155257 w 199239"/>
                  <a:gd name="connsiteY1" fmla="*/ 953 h 294322"/>
                  <a:gd name="connsiteX2" fmla="*/ 199072 w 199239"/>
                  <a:gd name="connsiteY2" fmla="*/ 0 h 294322"/>
                  <a:gd name="connsiteX3" fmla="*/ 952 w 199239"/>
                  <a:gd name="connsiteY3" fmla="*/ 294323 h 294322"/>
                  <a:gd name="connsiteX4" fmla="*/ 0 w 199239"/>
                  <a:gd name="connsiteY4" fmla="*/ 239078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8"/>
                    </a:moveTo>
                    <a:cubicBezTo>
                      <a:pt x="0" y="239078"/>
                      <a:pt x="175260" y="245745"/>
                      <a:pt x="155257" y="953"/>
                    </a:cubicBezTo>
                    <a:lnTo>
                      <a:pt x="199072" y="0"/>
                    </a:lnTo>
                    <a:cubicBezTo>
                      <a:pt x="199072" y="0"/>
                      <a:pt x="212408" y="240983"/>
                      <a:pt x="952" y="294323"/>
                    </a:cubicBezTo>
                    <a:lnTo>
                      <a:pt x="0" y="2390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 190"/>
              <p:cNvSpPr/>
              <p:nvPr/>
            </p:nvSpPr>
            <p:spPr>
              <a:xfrm>
                <a:off x="3741419" y="1663065"/>
                <a:ext cx="199239" cy="294322"/>
              </a:xfrm>
              <a:custGeom>
                <a:avLst/>
                <a:gdLst>
                  <a:gd name="connsiteX0" fmla="*/ 0 w 199239"/>
                  <a:gd name="connsiteY0" fmla="*/ 239077 h 294322"/>
                  <a:gd name="connsiteX1" fmla="*/ 155257 w 199239"/>
                  <a:gd name="connsiteY1" fmla="*/ 952 h 294322"/>
                  <a:gd name="connsiteX2" fmla="*/ 199072 w 199239"/>
                  <a:gd name="connsiteY2" fmla="*/ 0 h 294322"/>
                  <a:gd name="connsiteX3" fmla="*/ 952 w 199239"/>
                  <a:gd name="connsiteY3" fmla="*/ 294322 h 294322"/>
                  <a:gd name="connsiteX4" fmla="*/ 0 w 199239"/>
                  <a:gd name="connsiteY4" fmla="*/ 239077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7"/>
                    </a:moveTo>
                    <a:cubicBezTo>
                      <a:pt x="0" y="239077"/>
                      <a:pt x="175260" y="245745"/>
                      <a:pt x="155257" y="952"/>
                    </a:cubicBezTo>
                    <a:lnTo>
                      <a:pt x="199072" y="0"/>
                    </a:lnTo>
                    <a:cubicBezTo>
                      <a:pt x="199072" y="0"/>
                      <a:pt x="212408" y="240982"/>
                      <a:pt x="952" y="294322"/>
                    </a:cubicBezTo>
                    <a:lnTo>
                      <a:pt x="0" y="23907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 191"/>
              <p:cNvSpPr/>
              <p:nvPr/>
            </p:nvSpPr>
            <p:spPr>
              <a:xfrm>
                <a:off x="3216962" y="326204"/>
                <a:ext cx="488947" cy="660283"/>
              </a:xfrm>
              <a:custGeom>
                <a:avLst/>
                <a:gdLst>
                  <a:gd name="connsiteX0" fmla="*/ 230135 w 488947"/>
                  <a:gd name="connsiteY0" fmla="*/ 659633 h 660283"/>
                  <a:gd name="connsiteX1" fmla="*/ 462545 w 488947"/>
                  <a:gd name="connsiteY1" fmla="*/ 491993 h 660283"/>
                  <a:gd name="connsiteX2" fmla="*/ 379677 w 488947"/>
                  <a:gd name="connsiteY2" fmla="*/ 37650 h 660283"/>
                  <a:gd name="connsiteX3" fmla="*/ 20585 w 488947"/>
                  <a:gd name="connsiteY3" fmla="*/ 155760 h 660283"/>
                  <a:gd name="connsiteX4" fmla="*/ 230135 w 488947"/>
                  <a:gd name="connsiteY4" fmla="*/ 659633 h 660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8947" h="660283">
                    <a:moveTo>
                      <a:pt x="230135" y="659633"/>
                    </a:moveTo>
                    <a:cubicBezTo>
                      <a:pt x="334910" y="652013"/>
                      <a:pt x="423492" y="617723"/>
                      <a:pt x="462545" y="491993"/>
                    </a:cubicBezTo>
                    <a:cubicBezTo>
                      <a:pt x="501597" y="366263"/>
                      <a:pt x="513980" y="130043"/>
                      <a:pt x="379677" y="37650"/>
                    </a:cubicBezTo>
                    <a:cubicBezTo>
                      <a:pt x="246327" y="-54742"/>
                      <a:pt x="57732" y="37650"/>
                      <a:pt x="20585" y="155760"/>
                    </a:cubicBezTo>
                    <a:cubicBezTo>
                      <a:pt x="-15610" y="273870"/>
                      <a:pt x="-33708" y="678683"/>
                      <a:pt x="230135" y="659633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 192"/>
              <p:cNvSpPr/>
              <p:nvPr/>
            </p:nvSpPr>
            <p:spPr>
              <a:xfrm>
                <a:off x="3871574" y="708915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 193"/>
              <p:cNvSpPr/>
              <p:nvPr/>
            </p:nvSpPr>
            <p:spPr>
              <a:xfrm>
                <a:off x="3242924" y="1171830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4118451" y="4450079"/>
              <a:ext cx="707707" cy="256222"/>
              <a:chOff x="4083366" y="2517457"/>
              <a:chExt cx="707707" cy="256222"/>
            </a:xfrm>
          </p:grpSpPr>
          <p:sp>
            <p:nvSpPr>
              <p:cNvPr id="52" name="任意多边形 196"/>
              <p:cNvSpPr/>
              <p:nvPr/>
            </p:nvSpPr>
            <p:spPr>
              <a:xfrm>
                <a:off x="4195762" y="2517457"/>
                <a:ext cx="510540" cy="255270"/>
              </a:xfrm>
              <a:custGeom>
                <a:avLst/>
                <a:gdLst>
                  <a:gd name="connsiteX0" fmla="*/ 255270 w 510540"/>
                  <a:gd name="connsiteY0" fmla="*/ 0 h 255270"/>
                  <a:gd name="connsiteX1" fmla="*/ 0 w 510540"/>
                  <a:gd name="connsiteY1" fmla="*/ 255270 h 255270"/>
                  <a:gd name="connsiteX2" fmla="*/ 510540 w 510540"/>
                  <a:gd name="connsiteY2" fmla="*/ 255270 h 255270"/>
                  <a:gd name="connsiteX3" fmla="*/ 255270 w 510540"/>
                  <a:gd name="connsiteY3" fmla="*/ 0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0540" h="255270">
                    <a:moveTo>
                      <a:pt x="255270" y="0"/>
                    </a:moveTo>
                    <a:cubicBezTo>
                      <a:pt x="114300" y="0"/>
                      <a:pt x="0" y="114300"/>
                      <a:pt x="0" y="255270"/>
                    </a:cubicBezTo>
                    <a:lnTo>
                      <a:pt x="510540" y="255270"/>
                    </a:lnTo>
                    <a:cubicBezTo>
                      <a:pt x="510540" y="114300"/>
                      <a:pt x="396240" y="0"/>
                      <a:pt x="255270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 197"/>
              <p:cNvSpPr/>
              <p:nvPr/>
            </p:nvSpPr>
            <p:spPr>
              <a:xfrm>
                <a:off x="4083366" y="2619375"/>
                <a:ext cx="307657" cy="154305"/>
              </a:xfrm>
              <a:custGeom>
                <a:avLst/>
                <a:gdLst>
                  <a:gd name="connsiteX0" fmla="*/ 154305 w 307657"/>
                  <a:gd name="connsiteY0" fmla="*/ 0 h 154305"/>
                  <a:gd name="connsiteX1" fmla="*/ 0 w 307657"/>
                  <a:gd name="connsiteY1" fmla="*/ 154305 h 154305"/>
                  <a:gd name="connsiteX2" fmla="*/ 307658 w 307657"/>
                  <a:gd name="connsiteY2" fmla="*/ 154305 h 154305"/>
                  <a:gd name="connsiteX3" fmla="*/ 154305 w 307657"/>
                  <a:gd name="connsiteY3" fmla="*/ 0 h 154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7657" h="154305">
                    <a:moveTo>
                      <a:pt x="154305" y="0"/>
                    </a:moveTo>
                    <a:cubicBezTo>
                      <a:pt x="69533" y="0"/>
                      <a:pt x="0" y="68580"/>
                      <a:pt x="0" y="154305"/>
                    </a:cubicBezTo>
                    <a:lnTo>
                      <a:pt x="307658" y="154305"/>
                    </a:lnTo>
                    <a:cubicBezTo>
                      <a:pt x="307658" y="68580"/>
                      <a:pt x="239078" y="0"/>
                      <a:pt x="15430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 198"/>
              <p:cNvSpPr/>
              <p:nvPr/>
            </p:nvSpPr>
            <p:spPr>
              <a:xfrm>
                <a:off x="4277677" y="2664142"/>
                <a:ext cx="217169" cy="108584"/>
              </a:xfrm>
              <a:custGeom>
                <a:avLst/>
                <a:gdLst>
                  <a:gd name="connsiteX0" fmla="*/ 108585 w 217169"/>
                  <a:gd name="connsiteY0" fmla="*/ 0 h 108584"/>
                  <a:gd name="connsiteX1" fmla="*/ 0 w 217169"/>
                  <a:gd name="connsiteY1" fmla="*/ 108585 h 108584"/>
                  <a:gd name="connsiteX2" fmla="*/ 217170 w 217169"/>
                  <a:gd name="connsiteY2" fmla="*/ 108585 h 108584"/>
                  <a:gd name="connsiteX3" fmla="*/ 108585 w 217169"/>
                  <a:gd name="connsiteY3" fmla="*/ 0 h 108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7169" h="108584">
                    <a:moveTo>
                      <a:pt x="108585" y="0"/>
                    </a:moveTo>
                    <a:cubicBezTo>
                      <a:pt x="48577" y="0"/>
                      <a:pt x="0" y="48577"/>
                      <a:pt x="0" y="108585"/>
                    </a:cubicBezTo>
                    <a:lnTo>
                      <a:pt x="217170" y="108585"/>
                    </a:lnTo>
                    <a:cubicBezTo>
                      <a:pt x="217170" y="48577"/>
                      <a:pt x="168592" y="0"/>
                      <a:pt x="10858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 199"/>
              <p:cNvSpPr/>
              <p:nvPr/>
            </p:nvSpPr>
            <p:spPr>
              <a:xfrm>
                <a:off x="4589144" y="2671762"/>
                <a:ext cx="201929" cy="100965"/>
              </a:xfrm>
              <a:custGeom>
                <a:avLst/>
                <a:gdLst>
                  <a:gd name="connsiteX0" fmla="*/ 100965 w 201929"/>
                  <a:gd name="connsiteY0" fmla="*/ 0 h 100965"/>
                  <a:gd name="connsiteX1" fmla="*/ 0 w 201929"/>
                  <a:gd name="connsiteY1" fmla="*/ 100965 h 100965"/>
                  <a:gd name="connsiteX2" fmla="*/ 201930 w 201929"/>
                  <a:gd name="connsiteY2" fmla="*/ 100965 h 100965"/>
                  <a:gd name="connsiteX3" fmla="*/ 100965 w 201929"/>
                  <a:gd name="connsiteY3" fmla="*/ 0 h 100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1929" h="100965">
                    <a:moveTo>
                      <a:pt x="100965" y="0"/>
                    </a:moveTo>
                    <a:cubicBezTo>
                      <a:pt x="45720" y="0"/>
                      <a:pt x="0" y="44768"/>
                      <a:pt x="0" y="100965"/>
                    </a:cubicBezTo>
                    <a:lnTo>
                      <a:pt x="201930" y="100965"/>
                    </a:lnTo>
                    <a:cubicBezTo>
                      <a:pt x="201930" y="45720"/>
                      <a:pt x="157163" y="0"/>
                      <a:pt x="100965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7536022" y="4531994"/>
              <a:ext cx="482917" cy="174307"/>
              <a:chOff x="7500937" y="2599372"/>
              <a:chExt cx="482917" cy="174307"/>
            </a:xfrm>
          </p:grpSpPr>
          <p:sp>
            <p:nvSpPr>
              <p:cNvPr id="48" name="任意多边形 201"/>
              <p:cNvSpPr/>
              <p:nvPr/>
            </p:nvSpPr>
            <p:spPr>
              <a:xfrm>
                <a:off x="7578089" y="2599372"/>
                <a:ext cx="347662" cy="174307"/>
              </a:xfrm>
              <a:custGeom>
                <a:avLst/>
                <a:gdLst>
                  <a:gd name="connsiteX0" fmla="*/ 174308 w 347662"/>
                  <a:gd name="connsiteY0" fmla="*/ 0 h 174307"/>
                  <a:gd name="connsiteX1" fmla="*/ 0 w 347662"/>
                  <a:gd name="connsiteY1" fmla="*/ 174308 h 174307"/>
                  <a:gd name="connsiteX2" fmla="*/ 347662 w 347662"/>
                  <a:gd name="connsiteY2" fmla="*/ 174308 h 174307"/>
                  <a:gd name="connsiteX3" fmla="*/ 174308 w 347662"/>
                  <a:gd name="connsiteY3" fmla="*/ 0 h 17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7662" h="174307">
                    <a:moveTo>
                      <a:pt x="174308" y="0"/>
                    </a:moveTo>
                    <a:cubicBezTo>
                      <a:pt x="78105" y="0"/>
                      <a:pt x="0" y="78105"/>
                      <a:pt x="0" y="174308"/>
                    </a:cubicBezTo>
                    <a:lnTo>
                      <a:pt x="347662" y="174308"/>
                    </a:lnTo>
                    <a:cubicBezTo>
                      <a:pt x="347662" y="77153"/>
                      <a:pt x="269558" y="0"/>
                      <a:pt x="174308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 202"/>
              <p:cNvSpPr/>
              <p:nvPr/>
            </p:nvSpPr>
            <p:spPr>
              <a:xfrm>
                <a:off x="7500937" y="2667952"/>
                <a:ext cx="209550" cy="104775"/>
              </a:xfrm>
              <a:custGeom>
                <a:avLst/>
                <a:gdLst>
                  <a:gd name="connsiteX0" fmla="*/ 104775 w 209550"/>
                  <a:gd name="connsiteY0" fmla="*/ 0 h 104775"/>
                  <a:gd name="connsiteX1" fmla="*/ 0 w 209550"/>
                  <a:gd name="connsiteY1" fmla="*/ 104775 h 104775"/>
                  <a:gd name="connsiteX2" fmla="*/ 209550 w 209550"/>
                  <a:gd name="connsiteY2" fmla="*/ 104775 h 104775"/>
                  <a:gd name="connsiteX3" fmla="*/ 104775 w 209550"/>
                  <a:gd name="connsiteY3" fmla="*/ 0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50" h="104775">
                    <a:moveTo>
                      <a:pt x="104775" y="0"/>
                    </a:moveTo>
                    <a:cubicBezTo>
                      <a:pt x="46672" y="0"/>
                      <a:pt x="0" y="46672"/>
                      <a:pt x="0" y="104775"/>
                    </a:cubicBezTo>
                    <a:lnTo>
                      <a:pt x="209550" y="104775"/>
                    </a:lnTo>
                    <a:cubicBezTo>
                      <a:pt x="209550" y="47625"/>
                      <a:pt x="162877" y="0"/>
                      <a:pt x="10477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 203"/>
              <p:cNvSpPr/>
              <p:nvPr/>
            </p:nvSpPr>
            <p:spPr>
              <a:xfrm>
                <a:off x="7633334" y="2699384"/>
                <a:ext cx="147637" cy="74295"/>
              </a:xfrm>
              <a:custGeom>
                <a:avLst/>
                <a:gdLst>
                  <a:gd name="connsiteX0" fmla="*/ 74295 w 147637"/>
                  <a:gd name="connsiteY0" fmla="*/ 0 h 74295"/>
                  <a:gd name="connsiteX1" fmla="*/ 0 w 147637"/>
                  <a:gd name="connsiteY1" fmla="*/ 74295 h 74295"/>
                  <a:gd name="connsiteX2" fmla="*/ 147638 w 147637"/>
                  <a:gd name="connsiteY2" fmla="*/ 74295 h 74295"/>
                  <a:gd name="connsiteX3" fmla="*/ 74295 w 147637"/>
                  <a:gd name="connsiteY3" fmla="*/ 0 h 74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7637" h="74295">
                    <a:moveTo>
                      <a:pt x="74295" y="0"/>
                    </a:moveTo>
                    <a:cubicBezTo>
                      <a:pt x="33338" y="0"/>
                      <a:pt x="0" y="33338"/>
                      <a:pt x="0" y="74295"/>
                    </a:cubicBezTo>
                    <a:lnTo>
                      <a:pt x="147638" y="74295"/>
                    </a:lnTo>
                    <a:cubicBezTo>
                      <a:pt x="147638" y="32385"/>
                      <a:pt x="115252" y="0"/>
                      <a:pt x="7429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 204"/>
              <p:cNvSpPr/>
              <p:nvPr/>
            </p:nvSpPr>
            <p:spPr>
              <a:xfrm>
                <a:off x="7846694" y="2704147"/>
                <a:ext cx="137160" cy="68580"/>
              </a:xfrm>
              <a:custGeom>
                <a:avLst/>
                <a:gdLst>
                  <a:gd name="connsiteX0" fmla="*/ 68580 w 137160"/>
                  <a:gd name="connsiteY0" fmla="*/ 0 h 68580"/>
                  <a:gd name="connsiteX1" fmla="*/ 0 w 137160"/>
                  <a:gd name="connsiteY1" fmla="*/ 68580 h 68580"/>
                  <a:gd name="connsiteX2" fmla="*/ 137160 w 137160"/>
                  <a:gd name="connsiteY2" fmla="*/ 68580 h 68580"/>
                  <a:gd name="connsiteX3" fmla="*/ 68580 w 137160"/>
                  <a:gd name="connsiteY3" fmla="*/ 0 h 68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160" h="68580">
                    <a:moveTo>
                      <a:pt x="68580" y="0"/>
                    </a:moveTo>
                    <a:cubicBezTo>
                      <a:pt x="30480" y="0"/>
                      <a:pt x="0" y="30480"/>
                      <a:pt x="0" y="68580"/>
                    </a:cubicBezTo>
                    <a:lnTo>
                      <a:pt x="137160" y="68580"/>
                    </a:lnTo>
                    <a:cubicBezTo>
                      <a:pt x="137160" y="30480"/>
                      <a:pt x="105728" y="0"/>
                      <a:pt x="6858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4761389" y="3611879"/>
              <a:ext cx="647700" cy="1093470"/>
              <a:chOff x="4726304" y="1679257"/>
              <a:chExt cx="647700" cy="1093470"/>
            </a:xfrm>
          </p:grpSpPr>
          <p:sp>
            <p:nvSpPr>
              <p:cNvPr id="44" name="任意多边形 207"/>
              <p:cNvSpPr/>
              <p:nvPr/>
            </p:nvSpPr>
            <p:spPr>
              <a:xfrm>
                <a:off x="5007291" y="2360295"/>
                <a:ext cx="85725" cy="412432"/>
              </a:xfrm>
              <a:custGeom>
                <a:avLst/>
                <a:gdLst>
                  <a:gd name="connsiteX0" fmla="*/ 0 w 85725"/>
                  <a:gd name="connsiteY0" fmla="*/ 412433 h 412432"/>
                  <a:gd name="connsiteX1" fmla="*/ 85725 w 85725"/>
                  <a:gd name="connsiteY1" fmla="*/ 412433 h 412432"/>
                  <a:gd name="connsiteX2" fmla="*/ 75248 w 85725"/>
                  <a:gd name="connsiteY2" fmla="*/ 0 h 412432"/>
                  <a:gd name="connsiteX3" fmla="*/ 15240 w 85725"/>
                  <a:gd name="connsiteY3" fmla="*/ 0 h 412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5" h="412432">
                    <a:moveTo>
                      <a:pt x="0" y="412433"/>
                    </a:moveTo>
                    <a:lnTo>
                      <a:pt x="85725" y="412433"/>
                    </a:lnTo>
                    <a:lnTo>
                      <a:pt x="75248" y="0"/>
                    </a:lnTo>
                    <a:lnTo>
                      <a:pt x="1524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 208"/>
              <p:cNvSpPr/>
              <p:nvPr/>
            </p:nvSpPr>
            <p:spPr>
              <a:xfrm>
                <a:off x="5028246" y="2368867"/>
                <a:ext cx="172031" cy="227647"/>
              </a:xfrm>
              <a:custGeom>
                <a:avLst/>
                <a:gdLst>
                  <a:gd name="connsiteX0" fmla="*/ 953 w 172031"/>
                  <a:gd name="connsiteY0" fmla="*/ 180023 h 227647"/>
                  <a:gd name="connsiteX1" fmla="*/ 125730 w 172031"/>
                  <a:gd name="connsiteY1" fmla="*/ 0 h 227647"/>
                  <a:gd name="connsiteX2" fmla="*/ 170497 w 172031"/>
                  <a:gd name="connsiteY2" fmla="*/ 7620 h 227647"/>
                  <a:gd name="connsiteX3" fmla="*/ 0 w 172031"/>
                  <a:gd name="connsiteY3" fmla="*/ 227648 h 227647"/>
                  <a:gd name="connsiteX4" fmla="*/ 953 w 172031"/>
                  <a:gd name="connsiteY4" fmla="*/ 180023 h 227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2031" h="227647">
                    <a:moveTo>
                      <a:pt x="953" y="180023"/>
                    </a:moveTo>
                    <a:cubicBezTo>
                      <a:pt x="953" y="180023"/>
                      <a:pt x="172403" y="161925"/>
                      <a:pt x="125730" y="0"/>
                    </a:cubicBezTo>
                    <a:lnTo>
                      <a:pt x="170497" y="7620"/>
                    </a:lnTo>
                    <a:cubicBezTo>
                      <a:pt x="170497" y="7620"/>
                      <a:pt x="200025" y="164783"/>
                      <a:pt x="0" y="227648"/>
                    </a:cubicBezTo>
                    <a:lnTo>
                      <a:pt x="953" y="180023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 209"/>
              <p:cNvSpPr/>
              <p:nvPr/>
            </p:nvSpPr>
            <p:spPr>
              <a:xfrm>
                <a:off x="4907258" y="2329815"/>
                <a:ext cx="142896" cy="184784"/>
              </a:xfrm>
              <a:custGeom>
                <a:avLst/>
                <a:gdLst>
                  <a:gd name="connsiteX0" fmla="*/ 36216 w 142896"/>
                  <a:gd name="connsiteY0" fmla="*/ 12382 h 184784"/>
                  <a:gd name="connsiteX1" fmla="*/ 142896 w 142896"/>
                  <a:gd name="connsiteY1" fmla="*/ 152400 h 184784"/>
                  <a:gd name="connsiteX2" fmla="*/ 125751 w 142896"/>
                  <a:gd name="connsiteY2" fmla="*/ 184785 h 184784"/>
                  <a:gd name="connsiteX3" fmla="*/ 21 w 142896"/>
                  <a:gd name="connsiteY3" fmla="*/ 0 h 184784"/>
                  <a:gd name="connsiteX4" fmla="*/ 36216 w 142896"/>
                  <a:gd name="connsiteY4" fmla="*/ 12382 h 184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896" h="184784">
                    <a:moveTo>
                      <a:pt x="36216" y="12382"/>
                    </a:moveTo>
                    <a:cubicBezTo>
                      <a:pt x="36216" y="12382"/>
                      <a:pt x="7641" y="148590"/>
                      <a:pt x="142896" y="152400"/>
                    </a:cubicBezTo>
                    <a:lnTo>
                      <a:pt x="125751" y="184785"/>
                    </a:lnTo>
                    <a:cubicBezTo>
                      <a:pt x="125751" y="184785"/>
                      <a:pt x="-1884" y="168592"/>
                      <a:pt x="21" y="0"/>
                    </a:cubicBezTo>
                    <a:lnTo>
                      <a:pt x="36216" y="12382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 210"/>
              <p:cNvSpPr/>
              <p:nvPr/>
            </p:nvSpPr>
            <p:spPr>
              <a:xfrm>
                <a:off x="4726304" y="1679257"/>
                <a:ext cx="647700" cy="770572"/>
              </a:xfrm>
              <a:custGeom>
                <a:avLst/>
                <a:gdLst>
                  <a:gd name="connsiteX0" fmla="*/ 647700 w 647700"/>
                  <a:gd name="connsiteY0" fmla="*/ 425767 h 770572"/>
                  <a:gd name="connsiteX1" fmla="*/ 323850 w 647700"/>
                  <a:gd name="connsiteY1" fmla="*/ 770572 h 770572"/>
                  <a:gd name="connsiteX2" fmla="*/ 0 w 647700"/>
                  <a:gd name="connsiteY2" fmla="*/ 425767 h 770572"/>
                  <a:gd name="connsiteX3" fmla="*/ 323850 w 647700"/>
                  <a:gd name="connsiteY3" fmla="*/ 0 h 770572"/>
                  <a:gd name="connsiteX4" fmla="*/ 647700 w 647700"/>
                  <a:gd name="connsiteY4" fmla="*/ 425767 h 770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7700" h="770572">
                    <a:moveTo>
                      <a:pt x="647700" y="425767"/>
                    </a:moveTo>
                    <a:cubicBezTo>
                      <a:pt x="647700" y="661035"/>
                      <a:pt x="502920" y="770572"/>
                      <a:pt x="323850" y="770572"/>
                    </a:cubicBezTo>
                    <a:cubicBezTo>
                      <a:pt x="144780" y="770572"/>
                      <a:pt x="0" y="661988"/>
                      <a:pt x="0" y="425767"/>
                    </a:cubicBezTo>
                    <a:cubicBezTo>
                      <a:pt x="0" y="190500"/>
                      <a:pt x="144780" y="0"/>
                      <a:pt x="323850" y="0"/>
                    </a:cubicBezTo>
                    <a:cubicBezTo>
                      <a:pt x="502920" y="0"/>
                      <a:pt x="647700" y="190500"/>
                      <a:pt x="647700" y="425767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" name="组合 11"/>
            <p:cNvGrpSpPr/>
            <p:nvPr/>
          </p:nvGrpSpPr>
          <p:grpSpPr>
            <a:xfrm>
              <a:off x="6647339" y="4319587"/>
              <a:ext cx="757237" cy="386715"/>
              <a:chOff x="6612254" y="2386965"/>
              <a:chExt cx="757237" cy="386715"/>
            </a:xfrm>
          </p:grpSpPr>
          <p:sp>
            <p:nvSpPr>
              <p:cNvPr id="40" name="任意多边形 213"/>
              <p:cNvSpPr/>
              <p:nvPr/>
            </p:nvSpPr>
            <p:spPr>
              <a:xfrm>
                <a:off x="6612254" y="2611754"/>
                <a:ext cx="181927" cy="160972"/>
              </a:xfrm>
              <a:custGeom>
                <a:avLst/>
                <a:gdLst>
                  <a:gd name="connsiteX0" fmla="*/ 181927 w 181927"/>
                  <a:gd name="connsiteY0" fmla="*/ 18098 h 160972"/>
                  <a:gd name="connsiteX1" fmla="*/ 178117 w 181927"/>
                  <a:gd name="connsiteY1" fmla="*/ 4763 h 160972"/>
                  <a:gd name="connsiteX2" fmla="*/ 147638 w 181927"/>
                  <a:gd name="connsiteY2" fmla="*/ 0 h 160972"/>
                  <a:gd name="connsiteX3" fmla="*/ 0 w 181927"/>
                  <a:gd name="connsiteY3" fmla="*/ 160973 h 160972"/>
                  <a:gd name="connsiteX4" fmla="*/ 87630 w 181927"/>
                  <a:gd name="connsiteY4" fmla="*/ 160973 h 160972"/>
                  <a:gd name="connsiteX5" fmla="*/ 181927 w 181927"/>
                  <a:gd name="connsiteY5" fmla="*/ 18098 h 160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1927" h="160972">
                    <a:moveTo>
                      <a:pt x="181927" y="18098"/>
                    </a:moveTo>
                    <a:cubicBezTo>
                      <a:pt x="180975" y="14288"/>
                      <a:pt x="179070" y="9525"/>
                      <a:pt x="178117" y="4763"/>
                    </a:cubicBezTo>
                    <a:cubicBezTo>
                      <a:pt x="168592" y="1905"/>
                      <a:pt x="158115" y="0"/>
                      <a:pt x="147638" y="0"/>
                    </a:cubicBezTo>
                    <a:cubicBezTo>
                      <a:pt x="79057" y="0"/>
                      <a:pt x="20002" y="67627"/>
                      <a:pt x="0" y="160973"/>
                    </a:cubicBezTo>
                    <a:lnTo>
                      <a:pt x="87630" y="160973"/>
                    </a:lnTo>
                    <a:cubicBezTo>
                      <a:pt x="112395" y="103823"/>
                      <a:pt x="144780" y="55245"/>
                      <a:pt x="181927" y="180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 214"/>
              <p:cNvSpPr/>
              <p:nvPr/>
            </p:nvSpPr>
            <p:spPr>
              <a:xfrm>
                <a:off x="6781799" y="2386965"/>
                <a:ext cx="313372" cy="340994"/>
              </a:xfrm>
              <a:custGeom>
                <a:avLst/>
                <a:gdLst>
                  <a:gd name="connsiteX0" fmla="*/ 170497 w 313372"/>
                  <a:gd name="connsiteY0" fmla="*/ 262890 h 340994"/>
                  <a:gd name="connsiteX1" fmla="*/ 313372 w 313372"/>
                  <a:gd name="connsiteY1" fmla="*/ 131445 h 340994"/>
                  <a:gd name="connsiteX2" fmla="*/ 166688 w 313372"/>
                  <a:gd name="connsiteY2" fmla="*/ 0 h 340994"/>
                  <a:gd name="connsiteX3" fmla="*/ 0 w 313372"/>
                  <a:gd name="connsiteY3" fmla="*/ 250507 h 340994"/>
                  <a:gd name="connsiteX4" fmla="*/ 9525 w 313372"/>
                  <a:gd name="connsiteY4" fmla="*/ 327660 h 340994"/>
                  <a:gd name="connsiteX5" fmla="*/ 13335 w 313372"/>
                  <a:gd name="connsiteY5" fmla="*/ 340995 h 340994"/>
                  <a:gd name="connsiteX6" fmla="*/ 170497 w 313372"/>
                  <a:gd name="connsiteY6" fmla="*/ 262890 h 340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3372" h="340994">
                    <a:moveTo>
                      <a:pt x="170497" y="262890"/>
                    </a:moveTo>
                    <a:cubicBezTo>
                      <a:pt x="204788" y="195263"/>
                      <a:pt x="255270" y="147638"/>
                      <a:pt x="313372" y="131445"/>
                    </a:cubicBezTo>
                    <a:cubicBezTo>
                      <a:pt x="284797" y="53340"/>
                      <a:pt x="230505" y="0"/>
                      <a:pt x="166688" y="0"/>
                    </a:cubicBezTo>
                    <a:cubicBezTo>
                      <a:pt x="74295" y="0"/>
                      <a:pt x="0" y="112395"/>
                      <a:pt x="0" y="250507"/>
                    </a:cubicBezTo>
                    <a:cubicBezTo>
                      <a:pt x="0" y="279082"/>
                      <a:pt x="2857" y="304800"/>
                      <a:pt x="9525" y="327660"/>
                    </a:cubicBezTo>
                    <a:cubicBezTo>
                      <a:pt x="10478" y="332422"/>
                      <a:pt x="12382" y="336232"/>
                      <a:pt x="13335" y="340995"/>
                    </a:cubicBezTo>
                    <a:cubicBezTo>
                      <a:pt x="58103" y="295275"/>
                      <a:pt x="112395" y="267652"/>
                      <a:pt x="170497" y="262890"/>
                    </a:cubicBezTo>
                    <a:close/>
                  </a:path>
                </a:pathLst>
              </a:custGeom>
              <a:solidFill>
                <a:srgbClr val="3BA24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 215"/>
              <p:cNvSpPr/>
              <p:nvPr/>
            </p:nvSpPr>
            <p:spPr>
              <a:xfrm>
                <a:off x="6952296" y="2413634"/>
                <a:ext cx="417195" cy="359092"/>
              </a:xfrm>
              <a:custGeom>
                <a:avLst/>
                <a:gdLst>
                  <a:gd name="connsiteX0" fmla="*/ 0 w 417195"/>
                  <a:gd name="connsiteY0" fmla="*/ 138113 h 359092"/>
                  <a:gd name="connsiteX1" fmla="*/ 18097 w 417195"/>
                  <a:gd name="connsiteY1" fmla="*/ 137160 h 359092"/>
                  <a:gd name="connsiteX2" fmla="*/ 287655 w 417195"/>
                  <a:gd name="connsiteY2" fmla="*/ 359093 h 359092"/>
                  <a:gd name="connsiteX3" fmla="*/ 417195 w 417195"/>
                  <a:gd name="connsiteY3" fmla="*/ 359093 h 359092"/>
                  <a:gd name="connsiteX4" fmla="*/ 417195 w 417195"/>
                  <a:gd name="connsiteY4" fmla="*/ 350520 h 359092"/>
                  <a:gd name="connsiteX5" fmla="*/ 184785 w 417195"/>
                  <a:gd name="connsiteY5" fmla="*/ 0 h 359092"/>
                  <a:gd name="connsiteX6" fmla="*/ 142875 w 417195"/>
                  <a:gd name="connsiteY6" fmla="*/ 5715 h 359092"/>
                  <a:gd name="connsiteX7" fmla="*/ 0 w 417195"/>
                  <a:gd name="connsiteY7" fmla="*/ 138113 h 359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195" h="359092">
                    <a:moveTo>
                      <a:pt x="0" y="138113"/>
                    </a:moveTo>
                    <a:cubicBezTo>
                      <a:pt x="5715" y="137160"/>
                      <a:pt x="11430" y="137160"/>
                      <a:pt x="18097" y="137160"/>
                    </a:cubicBezTo>
                    <a:cubicBezTo>
                      <a:pt x="131445" y="137160"/>
                      <a:pt x="230505" y="225743"/>
                      <a:pt x="287655" y="359093"/>
                    </a:cubicBezTo>
                    <a:lnTo>
                      <a:pt x="417195" y="359093"/>
                    </a:lnTo>
                    <a:cubicBezTo>
                      <a:pt x="417195" y="356235"/>
                      <a:pt x="417195" y="353378"/>
                      <a:pt x="417195" y="350520"/>
                    </a:cubicBezTo>
                    <a:cubicBezTo>
                      <a:pt x="417195" y="157163"/>
                      <a:pt x="313372" y="0"/>
                      <a:pt x="184785" y="0"/>
                    </a:cubicBezTo>
                    <a:cubicBezTo>
                      <a:pt x="170497" y="0"/>
                      <a:pt x="156210" y="1905"/>
                      <a:pt x="142875" y="5715"/>
                    </a:cubicBezTo>
                    <a:cubicBezTo>
                      <a:pt x="84772" y="22860"/>
                      <a:pt x="34290" y="70485"/>
                      <a:pt x="0" y="138113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 216"/>
              <p:cNvSpPr/>
              <p:nvPr/>
            </p:nvSpPr>
            <p:spPr>
              <a:xfrm>
                <a:off x="6699884" y="2550795"/>
                <a:ext cx="540067" cy="222885"/>
              </a:xfrm>
              <a:custGeom>
                <a:avLst/>
                <a:gdLst>
                  <a:gd name="connsiteX0" fmla="*/ 270510 w 540067"/>
                  <a:gd name="connsiteY0" fmla="*/ 0 h 222885"/>
                  <a:gd name="connsiteX1" fmla="*/ 252413 w 540067"/>
                  <a:gd name="connsiteY1" fmla="*/ 952 h 222885"/>
                  <a:gd name="connsiteX2" fmla="*/ 94297 w 540067"/>
                  <a:gd name="connsiteY2" fmla="*/ 79058 h 222885"/>
                  <a:gd name="connsiteX3" fmla="*/ 0 w 540067"/>
                  <a:gd name="connsiteY3" fmla="*/ 222885 h 222885"/>
                  <a:gd name="connsiteX4" fmla="*/ 540068 w 540067"/>
                  <a:gd name="connsiteY4" fmla="*/ 222885 h 222885"/>
                  <a:gd name="connsiteX5" fmla="*/ 270510 w 540067"/>
                  <a:gd name="connsiteY5" fmla="*/ 0 h 222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0067" h="222885">
                    <a:moveTo>
                      <a:pt x="270510" y="0"/>
                    </a:moveTo>
                    <a:cubicBezTo>
                      <a:pt x="264795" y="0"/>
                      <a:pt x="258128" y="0"/>
                      <a:pt x="252413" y="952"/>
                    </a:cubicBezTo>
                    <a:cubicBezTo>
                      <a:pt x="194310" y="5715"/>
                      <a:pt x="140970" y="34290"/>
                      <a:pt x="94297" y="79058"/>
                    </a:cubicBezTo>
                    <a:cubicBezTo>
                      <a:pt x="56197" y="116205"/>
                      <a:pt x="24765" y="164783"/>
                      <a:pt x="0" y="222885"/>
                    </a:cubicBezTo>
                    <a:lnTo>
                      <a:pt x="540068" y="222885"/>
                    </a:lnTo>
                    <a:cubicBezTo>
                      <a:pt x="482918" y="88583"/>
                      <a:pt x="383858" y="0"/>
                      <a:pt x="27051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8914289" y="4138612"/>
              <a:ext cx="578168" cy="567690"/>
              <a:chOff x="8879204" y="2205990"/>
              <a:chExt cx="578168" cy="567690"/>
            </a:xfrm>
          </p:grpSpPr>
          <p:grpSp>
            <p:nvGrpSpPr>
              <p:cNvPr id="28" name="组合 27"/>
              <p:cNvGrpSpPr/>
              <p:nvPr/>
            </p:nvGrpSpPr>
            <p:grpSpPr>
              <a:xfrm>
                <a:off x="8879204" y="2205990"/>
                <a:ext cx="342900" cy="567690"/>
                <a:chOff x="8879204" y="2205990"/>
                <a:chExt cx="342900" cy="567690"/>
              </a:xfrm>
            </p:grpSpPr>
            <p:sp>
              <p:nvSpPr>
                <p:cNvPr id="34" name="任意多边形 220"/>
                <p:cNvSpPr/>
                <p:nvPr/>
              </p:nvSpPr>
              <p:spPr>
                <a:xfrm>
                  <a:off x="9023984" y="2238375"/>
                  <a:ext cx="60007" cy="535305"/>
                </a:xfrm>
                <a:custGeom>
                  <a:avLst/>
                  <a:gdLst>
                    <a:gd name="connsiteX0" fmla="*/ 60007 w 60007"/>
                    <a:gd name="connsiteY0" fmla="*/ 535305 h 535305"/>
                    <a:gd name="connsiteX1" fmla="*/ 0 w 60007"/>
                    <a:gd name="connsiteY1" fmla="*/ 535305 h 535305"/>
                    <a:gd name="connsiteX2" fmla="*/ 20955 w 60007"/>
                    <a:gd name="connsiteY2" fmla="*/ 0 h 535305"/>
                    <a:gd name="connsiteX3" fmla="*/ 39052 w 60007"/>
                    <a:gd name="connsiteY3" fmla="*/ 0 h 535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007" h="535305">
                      <a:moveTo>
                        <a:pt x="60007" y="535305"/>
                      </a:moveTo>
                      <a:lnTo>
                        <a:pt x="0" y="535305"/>
                      </a:lnTo>
                      <a:lnTo>
                        <a:pt x="20955" y="0"/>
                      </a:lnTo>
                      <a:lnTo>
                        <a:pt x="39052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35" name="组合 34"/>
                <p:cNvGrpSpPr/>
                <p:nvPr/>
              </p:nvGrpSpPr>
              <p:grpSpPr>
                <a:xfrm>
                  <a:off x="8879204" y="2205990"/>
                  <a:ext cx="342900" cy="567690"/>
                  <a:chOff x="8879204" y="2205990"/>
                  <a:chExt cx="342900" cy="567690"/>
                </a:xfrm>
              </p:grpSpPr>
              <p:sp>
                <p:nvSpPr>
                  <p:cNvPr id="36" name="任意多边形 222"/>
                  <p:cNvSpPr/>
                  <p:nvPr/>
                </p:nvSpPr>
                <p:spPr>
                  <a:xfrm>
                    <a:off x="8879204" y="2546984"/>
                    <a:ext cx="342900" cy="226695"/>
                  </a:xfrm>
                  <a:custGeom>
                    <a:avLst/>
                    <a:gdLst>
                      <a:gd name="connsiteX0" fmla="*/ 170497 w 342900"/>
                      <a:gd name="connsiteY0" fmla="*/ 0 h 226695"/>
                      <a:gd name="connsiteX1" fmla="*/ 0 w 342900"/>
                      <a:gd name="connsiteY1" fmla="*/ 226695 h 226695"/>
                      <a:gd name="connsiteX2" fmla="*/ 171450 w 342900"/>
                      <a:gd name="connsiteY2" fmla="*/ 226695 h 226695"/>
                      <a:gd name="connsiteX3" fmla="*/ 342900 w 342900"/>
                      <a:gd name="connsiteY3" fmla="*/ 226695 h 2266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42900" h="226695">
                        <a:moveTo>
                          <a:pt x="170497" y="0"/>
                        </a:moveTo>
                        <a:lnTo>
                          <a:pt x="0" y="226695"/>
                        </a:lnTo>
                        <a:lnTo>
                          <a:pt x="171450" y="226695"/>
                        </a:lnTo>
                        <a:lnTo>
                          <a:pt x="342900" y="226695"/>
                        </a:lnTo>
                        <a:close/>
                      </a:path>
                    </a:pathLst>
                  </a:custGeom>
                  <a:solidFill>
                    <a:srgbClr val="006738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7" name="任意多边形 223"/>
                  <p:cNvSpPr/>
                  <p:nvPr/>
                </p:nvSpPr>
                <p:spPr>
                  <a:xfrm>
                    <a:off x="8893492" y="2415540"/>
                    <a:ext cx="313372" cy="191452"/>
                  </a:xfrm>
                  <a:custGeom>
                    <a:avLst/>
                    <a:gdLst>
                      <a:gd name="connsiteX0" fmla="*/ 155257 w 313372"/>
                      <a:gd name="connsiteY0" fmla="*/ 0 h 191452"/>
                      <a:gd name="connsiteX1" fmla="*/ 0 w 313372"/>
                      <a:gd name="connsiteY1" fmla="*/ 191452 h 191452"/>
                      <a:gd name="connsiteX2" fmla="*/ 156210 w 313372"/>
                      <a:gd name="connsiteY2" fmla="*/ 191452 h 191452"/>
                      <a:gd name="connsiteX3" fmla="*/ 313372 w 313372"/>
                      <a:gd name="connsiteY3" fmla="*/ 191452 h 1914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13372" h="191452">
                        <a:moveTo>
                          <a:pt x="155257" y="0"/>
                        </a:moveTo>
                        <a:lnTo>
                          <a:pt x="0" y="191452"/>
                        </a:lnTo>
                        <a:lnTo>
                          <a:pt x="156210" y="191452"/>
                        </a:lnTo>
                        <a:lnTo>
                          <a:pt x="313372" y="191452"/>
                        </a:lnTo>
                        <a:close/>
                      </a:path>
                    </a:pathLst>
                  </a:custGeom>
                  <a:solidFill>
                    <a:srgbClr val="029344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8" name="任意多边形 224"/>
                  <p:cNvSpPr/>
                  <p:nvPr/>
                </p:nvSpPr>
                <p:spPr>
                  <a:xfrm>
                    <a:off x="8904922" y="2303145"/>
                    <a:ext cx="288607" cy="163829"/>
                  </a:xfrm>
                  <a:custGeom>
                    <a:avLst/>
                    <a:gdLst>
                      <a:gd name="connsiteX0" fmla="*/ 143827 w 288607"/>
                      <a:gd name="connsiteY0" fmla="*/ 0 h 163829"/>
                      <a:gd name="connsiteX1" fmla="*/ 0 w 288607"/>
                      <a:gd name="connsiteY1" fmla="*/ 163830 h 163829"/>
                      <a:gd name="connsiteX2" fmla="*/ 144780 w 288607"/>
                      <a:gd name="connsiteY2" fmla="*/ 163830 h 163829"/>
                      <a:gd name="connsiteX3" fmla="*/ 288607 w 288607"/>
                      <a:gd name="connsiteY3" fmla="*/ 163830 h 1638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88607" h="163829">
                        <a:moveTo>
                          <a:pt x="143827" y="0"/>
                        </a:moveTo>
                        <a:lnTo>
                          <a:pt x="0" y="163830"/>
                        </a:lnTo>
                        <a:lnTo>
                          <a:pt x="144780" y="163830"/>
                        </a:lnTo>
                        <a:lnTo>
                          <a:pt x="288607" y="163830"/>
                        </a:lnTo>
                        <a:close/>
                      </a:path>
                    </a:pathLst>
                  </a:custGeom>
                  <a:solidFill>
                    <a:srgbClr val="6EB13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9" name="任意多边形 225"/>
                  <p:cNvSpPr/>
                  <p:nvPr/>
                </p:nvSpPr>
                <p:spPr>
                  <a:xfrm>
                    <a:off x="8915399" y="2205990"/>
                    <a:ext cx="266700" cy="140969"/>
                  </a:xfrm>
                  <a:custGeom>
                    <a:avLst/>
                    <a:gdLst>
                      <a:gd name="connsiteX0" fmla="*/ 132398 w 266700"/>
                      <a:gd name="connsiteY0" fmla="*/ 0 h 140969"/>
                      <a:gd name="connsiteX1" fmla="*/ 0 w 266700"/>
                      <a:gd name="connsiteY1" fmla="*/ 140970 h 140969"/>
                      <a:gd name="connsiteX2" fmla="*/ 133350 w 266700"/>
                      <a:gd name="connsiteY2" fmla="*/ 140970 h 140969"/>
                      <a:gd name="connsiteX3" fmla="*/ 266700 w 266700"/>
                      <a:gd name="connsiteY3" fmla="*/ 140970 h 1409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66700" h="140969">
                        <a:moveTo>
                          <a:pt x="132398" y="0"/>
                        </a:moveTo>
                        <a:lnTo>
                          <a:pt x="0" y="140970"/>
                        </a:lnTo>
                        <a:lnTo>
                          <a:pt x="133350" y="140970"/>
                        </a:lnTo>
                        <a:lnTo>
                          <a:pt x="266700" y="140970"/>
                        </a:lnTo>
                        <a:close/>
                      </a:path>
                    </a:pathLst>
                  </a:custGeom>
                  <a:solidFill>
                    <a:srgbClr val="92C33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29" name="组合 28"/>
              <p:cNvGrpSpPr/>
              <p:nvPr/>
            </p:nvGrpSpPr>
            <p:grpSpPr>
              <a:xfrm>
                <a:off x="9019222" y="2615565"/>
                <a:ext cx="438150" cy="158115"/>
                <a:chOff x="9019222" y="2615565"/>
                <a:chExt cx="438150" cy="158115"/>
              </a:xfrm>
            </p:grpSpPr>
            <p:sp>
              <p:nvSpPr>
                <p:cNvPr id="30" name="任意多边形 228"/>
                <p:cNvSpPr/>
                <p:nvPr/>
              </p:nvSpPr>
              <p:spPr>
                <a:xfrm>
                  <a:off x="9088754" y="2615565"/>
                  <a:ext cx="317182" cy="158115"/>
                </a:xfrm>
                <a:custGeom>
                  <a:avLst/>
                  <a:gdLst>
                    <a:gd name="connsiteX0" fmla="*/ 158115 w 317182"/>
                    <a:gd name="connsiteY0" fmla="*/ 0 h 158115"/>
                    <a:gd name="connsiteX1" fmla="*/ 0 w 317182"/>
                    <a:gd name="connsiteY1" fmla="*/ 158115 h 158115"/>
                    <a:gd name="connsiteX2" fmla="*/ 317182 w 317182"/>
                    <a:gd name="connsiteY2" fmla="*/ 158115 h 158115"/>
                    <a:gd name="connsiteX3" fmla="*/ 158115 w 317182"/>
                    <a:gd name="connsiteY3" fmla="*/ 0 h 1581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7182" h="158115">
                      <a:moveTo>
                        <a:pt x="158115" y="0"/>
                      </a:moveTo>
                      <a:cubicBezTo>
                        <a:pt x="70485" y="0"/>
                        <a:pt x="0" y="70485"/>
                        <a:pt x="0" y="158115"/>
                      </a:cubicBezTo>
                      <a:lnTo>
                        <a:pt x="317182" y="158115"/>
                      </a:lnTo>
                      <a:cubicBezTo>
                        <a:pt x="317182" y="70485"/>
                        <a:pt x="245745" y="0"/>
                        <a:pt x="158115" y="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1" name="任意多边形 229"/>
                <p:cNvSpPr/>
                <p:nvPr/>
              </p:nvSpPr>
              <p:spPr>
                <a:xfrm>
                  <a:off x="9019222" y="2677477"/>
                  <a:ext cx="190500" cy="95250"/>
                </a:xfrm>
                <a:custGeom>
                  <a:avLst/>
                  <a:gdLst>
                    <a:gd name="connsiteX0" fmla="*/ 95250 w 190500"/>
                    <a:gd name="connsiteY0" fmla="*/ 0 h 95250"/>
                    <a:gd name="connsiteX1" fmla="*/ 0 w 190500"/>
                    <a:gd name="connsiteY1" fmla="*/ 95250 h 95250"/>
                    <a:gd name="connsiteX2" fmla="*/ 190500 w 190500"/>
                    <a:gd name="connsiteY2" fmla="*/ 95250 h 95250"/>
                    <a:gd name="connsiteX3" fmla="*/ 95250 w 190500"/>
                    <a:gd name="connsiteY3" fmla="*/ 0 h 95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0500" h="95250">
                      <a:moveTo>
                        <a:pt x="95250" y="0"/>
                      </a:moveTo>
                      <a:cubicBezTo>
                        <a:pt x="42863" y="0"/>
                        <a:pt x="0" y="42863"/>
                        <a:pt x="0" y="95250"/>
                      </a:cubicBezTo>
                      <a:lnTo>
                        <a:pt x="190500" y="95250"/>
                      </a:lnTo>
                      <a:cubicBezTo>
                        <a:pt x="190500" y="42863"/>
                        <a:pt x="148590" y="0"/>
                        <a:pt x="95250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2" name="任意多边形 230"/>
                <p:cNvSpPr/>
                <p:nvPr/>
              </p:nvSpPr>
              <p:spPr>
                <a:xfrm>
                  <a:off x="9139237" y="2706052"/>
                  <a:ext cx="134324" cy="67627"/>
                </a:xfrm>
                <a:custGeom>
                  <a:avLst/>
                  <a:gdLst>
                    <a:gd name="connsiteX0" fmla="*/ 67627 w 134324"/>
                    <a:gd name="connsiteY0" fmla="*/ 0 h 67627"/>
                    <a:gd name="connsiteX1" fmla="*/ 0 w 134324"/>
                    <a:gd name="connsiteY1" fmla="*/ 67628 h 67627"/>
                    <a:gd name="connsiteX2" fmla="*/ 134302 w 134324"/>
                    <a:gd name="connsiteY2" fmla="*/ 67628 h 67627"/>
                    <a:gd name="connsiteX3" fmla="*/ 67627 w 134324"/>
                    <a:gd name="connsiteY3" fmla="*/ 0 h 67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4324" h="67627">
                      <a:moveTo>
                        <a:pt x="67627" y="0"/>
                      </a:moveTo>
                      <a:cubicBezTo>
                        <a:pt x="30480" y="0"/>
                        <a:pt x="0" y="30480"/>
                        <a:pt x="0" y="67628"/>
                      </a:cubicBezTo>
                      <a:lnTo>
                        <a:pt x="134302" y="67628"/>
                      </a:lnTo>
                      <a:cubicBezTo>
                        <a:pt x="135255" y="30480"/>
                        <a:pt x="104775" y="0"/>
                        <a:pt x="67627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3" name="任意多边形 231"/>
                <p:cNvSpPr/>
                <p:nvPr/>
              </p:nvSpPr>
              <p:spPr>
                <a:xfrm>
                  <a:off x="9332594" y="2710815"/>
                  <a:ext cx="124777" cy="62865"/>
                </a:xfrm>
                <a:custGeom>
                  <a:avLst/>
                  <a:gdLst>
                    <a:gd name="connsiteX0" fmla="*/ 62865 w 124777"/>
                    <a:gd name="connsiteY0" fmla="*/ 0 h 62865"/>
                    <a:gd name="connsiteX1" fmla="*/ 0 w 124777"/>
                    <a:gd name="connsiteY1" fmla="*/ 62865 h 62865"/>
                    <a:gd name="connsiteX2" fmla="*/ 124778 w 124777"/>
                    <a:gd name="connsiteY2" fmla="*/ 62865 h 62865"/>
                    <a:gd name="connsiteX3" fmla="*/ 62865 w 124777"/>
                    <a:gd name="connsiteY3" fmla="*/ 0 h 62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4777" h="62865">
                      <a:moveTo>
                        <a:pt x="62865" y="0"/>
                      </a:moveTo>
                      <a:cubicBezTo>
                        <a:pt x="28575" y="0"/>
                        <a:pt x="0" y="27622"/>
                        <a:pt x="0" y="62865"/>
                      </a:cubicBezTo>
                      <a:lnTo>
                        <a:pt x="124778" y="62865"/>
                      </a:lnTo>
                      <a:cubicBezTo>
                        <a:pt x="124778" y="27622"/>
                        <a:pt x="97155" y="0"/>
                        <a:pt x="62865" y="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4" name="组合 13"/>
            <p:cNvGrpSpPr/>
            <p:nvPr/>
          </p:nvGrpSpPr>
          <p:grpSpPr>
            <a:xfrm>
              <a:off x="2772569" y="4065269"/>
              <a:ext cx="704850" cy="641032"/>
              <a:chOff x="2737484" y="2132647"/>
              <a:chExt cx="704850" cy="641032"/>
            </a:xfrm>
          </p:grpSpPr>
          <p:sp>
            <p:nvSpPr>
              <p:cNvPr id="15" name="任意多边形 233"/>
              <p:cNvSpPr/>
              <p:nvPr/>
            </p:nvSpPr>
            <p:spPr>
              <a:xfrm>
                <a:off x="2987992" y="2646045"/>
                <a:ext cx="340058" cy="127635"/>
              </a:xfrm>
              <a:custGeom>
                <a:avLst/>
                <a:gdLst>
                  <a:gd name="connsiteX0" fmla="*/ 250508 w 340058"/>
                  <a:gd name="connsiteY0" fmla="*/ 37148 h 127635"/>
                  <a:gd name="connsiteX1" fmla="*/ 221933 w 340058"/>
                  <a:gd name="connsiteY1" fmla="*/ 41910 h 127635"/>
                  <a:gd name="connsiteX2" fmla="*/ 127635 w 340058"/>
                  <a:gd name="connsiteY2" fmla="*/ 0 h 127635"/>
                  <a:gd name="connsiteX3" fmla="*/ 0 w 340058"/>
                  <a:gd name="connsiteY3" fmla="*/ 127635 h 127635"/>
                  <a:gd name="connsiteX4" fmla="*/ 160020 w 340058"/>
                  <a:gd name="connsiteY4" fmla="*/ 127635 h 127635"/>
                  <a:gd name="connsiteX5" fmla="*/ 254318 w 340058"/>
                  <a:gd name="connsiteY5" fmla="*/ 127635 h 127635"/>
                  <a:gd name="connsiteX6" fmla="*/ 340043 w 340058"/>
                  <a:gd name="connsiteY6" fmla="*/ 127635 h 127635"/>
                  <a:gd name="connsiteX7" fmla="*/ 250508 w 340058"/>
                  <a:gd name="connsiteY7" fmla="*/ 37148 h 127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0058" h="127635">
                    <a:moveTo>
                      <a:pt x="250508" y="37148"/>
                    </a:moveTo>
                    <a:cubicBezTo>
                      <a:pt x="240030" y="37148"/>
                      <a:pt x="230505" y="39052"/>
                      <a:pt x="221933" y="41910"/>
                    </a:cubicBezTo>
                    <a:cubicBezTo>
                      <a:pt x="198120" y="16192"/>
                      <a:pt x="164783" y="0"/>
                      <a:pt x="127635" y="0"/>
                    </a:cubicBezTo>
                    <a:cubicBezTo>
                      <a:pt x="57150" y="0"/>
                      <a:pt x="0" y="57150"/>
                      <a:pt x="0" y="127635"/>
                    </a:cubicBezTo>
                    <a:lnTo>
                      <a:pt x="160020" y="127635"/>
                    </a:lnTo>
                    <a:lnTo>
                      <a:pt x="254318" y="127635"/>
                    </a:lnTo>
                    <a:lnTo>
                      <a:pt x="340043" y="127635"/>
                    </a:lnTo>
                    <a:cubicBezTo>
                      <a:pt x="340995" y="77152"/>
                      <a:pt x="300038" y="37148"/>
                      <a:pt x="250508" y="37148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6" name="组合 15"/>
              <p:cNvGrpSpPr/>
              <p:nvPr/>
            </p:nvGrpSpPr>
            <p:grpSpPr>
              <a:xfrm>
                <a:off x="2737484" y="2132647"/>
                <a:ext cx="704850" cy="640080"/>
                <a:chOff x="2737484" y="2132647"/>
                <a:chExt cx="704850" cy="640080"/>
              </a:xfrm>
            </p:grpSpPr>
            <p:sp>
              <p:nvSpPr>
                <p:cNvPr id="18" name="任意多边形 235"/>
                <p:cNvSpPr/>
                <p:nvPr/>
              </p:nvSpPr>
              <p:spPr>
                <a:xfrm>
                  <a:off x="3063239" y="2425065"/>
                  <a:ext cx="49530" cy="347662"/>
                </a:xfrm>
                <a:custGeom>
                  <a:avLst/>
                  <a:gdLst>
                    <a:gd name="connsiteX0" fmla="*/ 0 w 49530"/>
                    <a:gd name="connsiteY0" fmla="*/ 347663 h 347662"/>
                    <a:gd name="connsiteX1" fmla="*/ 49530 w 49530"/>
                    <a:gd name="connsiteY1" fmla="*/ 347663 h 347662"/>
                    <a:gd name="connsiteX2" fmla="*/ 43815 w 49530"/>
                    <a:gd name="connsiteY2" fmla="*/ 0 h 347662"/>
                    <a:gd name="connsiteX3" fmla="*/ 8573 w 49530"/>
                    <a:gd name="connsiteY3" fmla="*/ 0 h 347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9530" h="347662">
                      <a:moveTo>
                        <a:pt x="0" y="347663"/>
                      </a:moveTo>
                      <a:lnTo>
                        <a:pt x="49530" y="347663"/>
                      </a:lnTo>
                      <a:lnTo>
                        <a:pt x="43815" y="0"/>
                      </a:lnTo>
                      <a:lnTo>
                        <a:pt x="8573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" name="任意多边形 236"/>
                <p:cNvSpPr/>
                <p:nvPr/>
              </p:nvSpPr>
              <p:spPr>
                <a:xfrm>
                  <a:off x="3097529" y="2373629"/>
                  <a:ext cx="150866" cy="200025"/>
                </a:xfrm>
                <a:custGeom>
                  <a:avLst/>
                  <a:gdLst>
                    <a:gd name="connsiteX0" fmla="*/ 952 w 150866"/>
                    <a:gd name="connsiteY0" fmla="*/ 158115 h 200025"/>
                    <a:gd name="connsiteX1" fmla="*/ 110490 w 150866"/>
                    <a:gd name="connsiteY1" fmla="*/ 0 h 200025"/>
                    <a:gd name="connsiteX2" fmla="*/ 149543 w 150866"/>
                    <a:gd name="connsiteY2" fmla="*/ 6667 h 200025"/>
                    <a:gd name="connsiteX3" fmla="*/ 0 w 150866"/>
                    <a:gd name="connsiteY3" fmla="*/ 200025 h 200025"/>
                    <a:gd name="connsiteX4" fmla="*/ 952 w 150866"/>
                    <a:gd name="connsiteY4" fmla="*/ 158115 h 200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66" h="200025">
                      <a:moveTo>
                        <a:pt x="952" y="158115"/>
                      </a:moveTo>
                      <a:cubicBezTo>
                        <a:pt x="952" y="158115"/>
                        <a:pt x="152400" y="141923"/>
                        <a:pt x="110490" y="0"/>
                      </a:cubicBezTo>
                      <a:lnTo>
                        <a:pt x="149543" y="6667"/>
                      </a:lnTo>
                      <a:cubicBezTo>
                        <a:pt x="149543" y="6667"/>
                        <a:pt x="175260" y="144780"/>
                        <a:pt x="0" y="200025"/>
                      </a:cubicBezTo>
                      <a:lnTo>
                        <a:pt x="952" y="158115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" name="任意多边形 237"/>
                <p:cNvSpPr/>
                <p:nvPr/>
              </p:nvSpPr>
              <p:spPr>
                <a:xfrm>
                  <a:off x="2968935" y="2326957"/>
                  <a:ext cx="120973" cy="156209"/>
                </a:xfrm>
                <a:custGeom>
                  <a:avLst/>
                  <a:gdLst>
                    <a:gd name="connsiteX0" fmla="*/ 30486 w 120973"/>
                    <a:gd name="connsiteY0" fmla="*/ 10477 h 156209"/>
                    <a:gd name="connsiteX1" fmla="*/ 120974 w 120973"/>
                    <a:gd name="connsiteY1" fmla="*/ 128588 h 156209"/>
                    <a:gd name="connsiteX2" fmla="*/ 106686 w 120973"/>
                    <a:gd name="connsiteY2" fmla="*/ 156210 h 156209"/>
                    <a:gd name="connsiteX3" fmla="*/ 6 w 120973"/>
                    <a:gd name="connsiteY3" fmla="*/ 0 h 156209"/>
                    <a:gd name="connsiteX4" fmla="*/ 30486 w 120973"/>
                    <a:gd name="connsiteY4" fmla="*/ 10477 h 156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0973" h="156209">
                      <a:moveTo>
                        <a:pt x="30486" y="10477"/>
                      </a:moveTo>
                      <a:cubicBezTo>
                        <a:pt x="30486" y="10477"/>
                        <a:pt x="5721" y="125730"/>
                        <a:pt x="120974" y="128588"/>
                      </a:cubicBezTo>
                      <a:lnTo>
                        <a:pt x="106686" y="156210"/>
                      </a:lnTo>
                      <a:cubicBezTo>
                        <a:pt x="106686" y="156210"/>
                        <a:pt x="-946" y="141922"/>
                        <a:pt x="6" y="0"/>
                      </a:cubicBezTo>
                      <a:lnTo>
                        <a:pt x="30486" y="10477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" name="任意多边形 238"/>
                <p:cNvSpPr/>
                <p:nvPr/>
              </p:nvSpPr>
              <p:spPr>
                <a:xfrm>
                  <a:off x="2832734" y="2346959"/>
                  <a:ext cx="167640" cy="97818"/>
                </a:xfrm>
                <a:custGeom>
                  <a:avLst/>
                  <a:gdLst>
                    <a:gd name="connsiteX0" fmla="*/ 32385 w 167640"/>
                    <a:gd name="connsiteY0" fmla="*/ 0 h 97818"/>
                    <a:gd name="connsiteX1" fmla="*/ 167640 w 167640"/>
                    <a:gd name="connsiteY1" fmla="*/ 61913 h 97818"/>
                    <a:gd name="connsiteX2" fmla="*/ 167640 w 167640"/>
                    <a:gd name="connsiteY2" fmla="*/ 92393 h 97818"/>
                    <a:gd name="connsiteX3" fmla="*/ 0 w 167640"/>
                    <a:gd name="connsiteY3" fmla="*/ 4763 h 97818"/>
                    <a:gd name="connsiteX4" fmla="*/ 32385 w 167640"/>
                    <a:gd name="connsiteY4" fmla="*/ 0 h 97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97818">
                      <a:moveTo>
                        <a:pt x="32385" y="0"/>
                      </a:moveTo>
                      <a:cubicBezTo>
                        <a:pt x="32385" y="0"/>
                        <a:pt x="64770" y="112395"/>
                        <a:pt x="167640" y="61913"/>
                      </a:cubicBezTo>
                      <a:lnTo>
                        <a:pt x="167640" y="92393"/>
                      </a:lnTo>
                      <a:cubicBezTo>
                        <a:pt x="167640" y="92393"/>
                        <a:pt x="65723" y="130493"/>
                        <a:pt x="0" y="4763"/>
                      </a:cubicBezTo>
                      <a:lnTo>
                        <a:pt x="32385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" name="任意多边形 239"/>
                <p:cNvSpPr/>
                <p:nvPr/>
              </p:nvSpPr>
              <p:spPr>
                <a:xfrm>
                  <a:off x="3191826" y="2437447"/>
                  <a:ext cx="179070" cy="91847"/>
                </a:xfrm>
                <a:custGeom>
                  <a:avLst/>
                  <a:gdLst>
                    <a:gd name="connsiteX0" fmla="*/ 18098 w 179070"/>
                    <a:gd name="connsiteY0" fmla="*/ 56198 h 91847"/>
                    <a:gd name="connsiteX1" fmla="*/ 156210 w 179070"/>
                    <a:gd name="connsiteY1" fmla="*/ 0 h 91847"/>
                    <a:gd name="connsiteX2" fmla="*/ 179070 w 179070"/>
                    <a:gd name="connsiteY2" fmla="*/ 20955 h 91847"/>
                    <a:gd name="connsiteX3" fmla="*/ 0 w 179070"/>
                    <a:gd name="connsiteY3" fmla="*/ 82868 h 91847"/>
                    <a:gd name="connsiteX4" fmla="*/ 18098 w 179070"/>
                    <a:gd name="connsiteY4" fmla="*/ 56198 h 91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9070" h="91847">
                      <a:moveTo>
                        <a:pt x="18098" y="56198"/>
                      </a:moveTo>
                      <a:cubicBezTo>
                        <a:pt x="18098" y="56198"/>
                        <a:pt x="122873" y="109538"/>
                        <a:pt x="156210" y="0"/>
                      </a:cubicBezTo>
                      <a:lnTo>
                        <a:pt x="179070" y="20955"/>
                      </a:lnTo>
                      <a:cubicBezTo>
                        <a:pt x="179070" y="20955"/>
                        <a:pt x="137160" y="121920"/>
                        <a:pt x="0" y="82868"/>
                      </a:cubicBezTo>
                      <a:lnTo>
                        <a:pt x="18098" y="56198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" name="任意多边形 240"/>
                <p:cNvSpPr/>
                <p:nvPr/>
              </p:nvSpPr>
              <p:spPr>
                <a:xfrm>
                  <a:off x="2895599" y="2154554"/>
                  <a:ext cx="180975" cy="215265"/>
                </a:xfrm>
                <a:custGeom>
                  <a:avLst/>
                  <a:gdLst>
                    <a:gd name="connsiteX0" fmla="*/ 180975 w 180975"/>
                    <a:gd name="connsiteY0" fmla="*/ 119063 h 215265"/>
                    <a:gd name="connsiteX1" fmla="*/ 90488 w 180975"/>
                    <a:gd name="connsiteY1" fmla="*/ 215265 h 215265"/>
                    <a:gd name="connsiteX2" fmla="*/ 0 w 180975"/>
                    <a:gd name="connsiteY2" fmla="*/ 119063 h 215265"/>
                    <a:gd name="connsiteX3" fmla="*/ 90488 w 180975"/>
                    <a:gd name="connsiteY3" fmla="*/ 0 h 215265"/>
                    <a:gd name="connsiteX4" fmla="*/ 180975 w 180975"/>
                    <a:gd name="connsiteY4" fmla="*/ 119063 h 215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975" h="215265">
                      <a:moveTo>
                        <a:pt x="180975" y="119063"/>
                      </a:moveTo>
                      <a:cubicBezTo>
                        <a:pt x="180975" y="184785"/>
                        <a:pt x="140970" y="215265"/>
                        <a:pt x="90488" y="215265"/>
                      </a:cubicBezTo>
                      <a:cubicBezTo>
                        <a:pt x="40957" y="215265"/>
                        <a:pt x="0" y="184785"/>
                        <a:pt x="0" y="119063"/>
                      </a:cubicBezTo>
                      <a:cubicBezTo>
                        <a:pt x="0" y="53340"/>
                        <a:pt x="40005" y="0"/>
                        <a:pt x="90488" y="0"/>
                      </a:cubicBezTo>
                      <a:cubicBezTo>
                        <a:pt x="140018" y="0"/>
                        <a:pt x="180975" y="53340"/>
                        <a:pt x="180975" y="11906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" name="任意多边形 241"/>
                <p:cNvSpPr/>
                <p:nvPr/>
              </p:nvSpPr>
              <p:spPr>
                <a:xfrm>
                  <a:off x="2737484" y="2132647"/>
                  <a:ext cx="217170" cy="259080"/>
                </a:xfrm>
                <a:custGeom>
                  <a:avLst/>
                  <a:gdLst>
                    <a:gd name="connsiteX0" fmla="*/ 217170 w 217170"/>
                    <a:gd name="connsiteY0" fmla="*/ 142875 h 259080"/>
                    <a:gd name="connsiteX1" fmla="*/ 108585 w 217170"/>
                    <a:gd name="connsiteY1" fmla="*/ 259080 h 259080"/>
                    <a:gd name="connsiteX2" fmla="*/ 0 w 217170"/>
                    <a:gd name="connsiteY2" fmla="*/ 142875 h 259080"/>
                    <a:gd name="connsiteX3" fmla="*/ 108585 w 217170"/>
                    <a:gd name="connsiteY3" fmla="*/ 0 h 259080"/>
                    <a:gd name="connsiteX4" fmla="*/ 217170 w 217170"/>
                    <a:gd name="connsiteY4" fmla="*/ 142875 h 259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70" h="259080">
                      <a:moveTo>
                        <a:pt x="217170" y="142875"/>
                      </a:moveTo>
                      <a:cubicBezTo>
                        <a:pt x="217170" y="221933"/>
                        <a:pt x="168593" y="259080"/>
                        <a:pt x="108585" y="259080"/>
                      </a:cubicBezTo>
                      <a:cubicBezTo>
                        <a:pt x="48578" y="259080"/>
                        <a:pt x="0" y="222885"/>
                        <a:pt x="0" y="142875"/>
                      </a:cubicBezTo>
                      <a:cubicBezTo>
                        <a:pt x="0" y="63818"/>
                        <a:pt x="48578" y="0"/>
                        <a:pt x="108585" y="0"/>
                      </a:cubicBezTo>
                      <a:cubicBezTo>
                        <a:pt x="168593" y="0"/>
                        <a:pt x="217170" y="63818"/>
                        <a:pt x="217170" y="142875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5" name="任意多边形 242"/>
                <p:cNvSpPr/>
                <p:nvPr/>
              </p:nvSpPr>
              <p:spPr>
                <a:xfrm>
                  <a:off x="3108959" y="2200275"/>
                  <a:ext cx="217169" cy="218122"/>
                </a:xfrm>
                <a:custGeom>
                  <a:avLst/>
                  <a:gdLst>
                    <a:gd name="connsiteX0" fmla="*/ 217170 w 217169"/>
                    <a:gd name="connsiteY0" fmla="*/ 120967 h 218122"/>
                    <a:gd name="connsiteX1" fmla="*/ 108585 w 217169"/>
                    <a:gd name="connsiteY1" fmla="*/ 218122 h 218122"/>
                    <a:gd name="connsiteX2" fmla="*/ 0 w 217169"/>
                    <a:gd name="connsiteY2" fmla="*/ 120967 h 218122"/>
                    <a:gd name="connsiteX3" fmla="*/ 108585 w 217169"/>
                    <a:gd name="connsiteY3" fmla="*/ 0 h 218122"/>
                    <a:gd name="connsiteX4" fmla="*/ 217170 w 217169"/>
                    <a:gd name="connsiteY4" fmla="*/ 120967 h 218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69" h="218122">
                      <a:moveTo>
                        <a:pt x="217170" y="120967"/>
                      </a:moveTo>
                      <a:cubicBezTo>
                        <a:pt x="217170" y="187642"/>
                        <a:pt x="168592" y="218122"/>
                        <a:pt x="108585" y="218122"/>
                      </a:cubicBezTo>
                      <a:cubicBezTo>
                        <a:pt x="48577" y="218122"/>
                        <a:pt x="0" y="187642"/>
                        <a:pt x="0" y="120967"/>
                      </a:cubicBezTo>
                      <a:cubicBezTo>
                        <a:pt x="0" y="54292"/>
                        <a:pt x="48577" y="0"/>
                        <a:pt x="108585" y="0"/>
                      </a:cubicBezTo>
                      <a:cubicBezTo>
                        <a:pt x="168592" y="0"/>
                        <a:pt x="217170" y="54292"/>
                        <a:pt x="217170" y="120967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6" name="任意多边形 243"/>
                <p:cNvSpPr/>
                <p:nvPr/>
              </p:nvSpPr>
              <p:spPr>
                <a:xfrm>
                  <a:off x="3016567" y="2297429"/>
                  <a:ext cx="142875" cy="144779"/>
                </a:xfrm>
                <a:custGeom>
                  <a:avLst/>
                  <a:gdLst>
                    <a:gd name="connsiteX0" fmla="*/ 142875 w 142875"/>
                    <a:gd name="connsiteY0" fmla="*/ 80010 h 144779"/>
                    <a:gd name="connsiteX1" fmla="*/ 71438 w 142875"/>
                    <a:gd name="connsiteY1" fmla="*/ 144780 h 144779"/>
                    <a:gd name="connsiteX2" fmla="*/ 0 w 142875"/>
                    <a:gd name="connsiteY2" fmla="*/ 80010 h 144779"/>
                    <a:gd name="connsiteX3" fmla="*/ 71438 w 142875"/>
                    <a:gd name="connsiteY3" fmla="*/ 0 h 144779"/>
                    <a:gd name="connsiteX4" fmla="*/ 142875 w 142875"/>
                    <a:gd name="connsiteY4" fmla="*/ 80010 h 144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875" h="144779">
                      <a:moveTo>
                        <a:pt x="142875" y="80010"/>
                      </a:moveTo>
                      <a:cubicBezTo>
                        <a:pt x="142875" y="123825"/>
                        <a:pt x="110490" y="144780"/>
                        <a:pt x="71438" y="144780"/>
                      </a:cubicBezTo>
                      <a:cubicBezTo>
                        <a:pt x="31432" y="144780"/>
                        <a:pt x="0" y="124778"/>
                        <a:pt x="0" y="80010"/>
                      </a:cubicBezTo>
                      <a:cubicBezTo>
                        <a:pt x="0" y="36195"/>
                        <a:pt x="32385" y="0"/>
                        <a:pt x="71438" y="0"/>
                      </a:cubicBezTo>
                      <a:cubicBezTo>
                        <a:pt x="110490" y="0"/>
                        <a:pt x="142875" y="36195"/>
                        <a:pt x="142875" y="8001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7" name="任意多边形 244"/>
                <p:cNvSpPr/>
                <p:nvPr/>
              </p:nvSpPr>
              <p:spPr>
                <a:xfrm>
                  <a:off x="3274694" y="2323147"/>
                  <a:ext cx="167640" cy="167640"/>
                </a:xfrm>
                <a:custGeom>
                  <a:avLst/>
                  <a:gdLst>
                    <a:gd name="connsiteX0" fmla="*/ 167640 w 167640"/>
                    <a:gd name="connsiteY0" fmla="*/ 92393 h 167640"/>
                    <a:gd name="connsiteX1" fmla="*/ 83820 w 167640"/>
                    <a:gd name="connsiteY1" fmla="*/ 167640 h 167640"/>
                    <a:gd name="connsiteX2" fmla="*/ 0 w 167640"/>
                    <a:gd name="connsiteY2" fmla="*/ 92393 h 167640"/>
                    <a:gd name="connsiteX3" fmla="*/ 83820 w 167640"/>
                    <a:gd name="connsiteY3" fmla="*/ 0 h 167640"/>
                    <a:gd name="connsiteX4" fmla="*/ 167640 w 167640"/>
                    <a:gd name="connsiteY4" fmla="*/ 92393 h 1676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167640">
                      <a:moveTo>
                        <a:pt x="167640" y="92393"/>
                      </a:moveTo>
                      <a:cubicBezTo>
                        <a:pt x="167640" y="143828"/>
                        <a:pt x="130493" y="167640"/>
                        <a:pt x="83820" y="167640"/>
                      </a:cubicBezTo>
                      <a:cubicBezTo>
                        <a:pt x="38100" y="167640"/>
                        <a:pt x="0" y="143828"/>
                        <a:pt x="0" y="92393"/>
                      </a:cubicBezTo>
                      <a:cubicBezTo>
                        <a:pt x="0" y="40958"/>
                        <a:pt x="37148" y="0"/>
                        <a:pt x="83820" y="0"/>
                      </a:cubicBezTo>
                      <a:cubicBezTo>
                        <a:pt x="129540" y="0"/>
                        <a:pt x="167640" y="40958"/>
                        <a:pt x="167640" y="9239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7" name="任意多边形 245"/>
              <p:cNvSpPr/>
              <p:nvPr/>
            </p:nvSpPr>
            <p:spPr>
              <a:xfrm>
                <a:off x="2830829" y="2681287"/>
                <a:ext cx="247650" cy="92392"/>
              </a:xfrm>
              <a:custGeom>
                <a:avLst/>
                <a:gdLst>
                  <a:gd name="connsiteX0" fmla="*/ 65723 w 247650"/>
                  <a:gd name="connsiteY0" fmla="*/ 26670 h 92392"/>
                  <a:gd name="connsiteX1" fmla="*/ 86677 w 247650"/>
                  <a:gd name="connsiteY1" fmla="*/ 30480 h 92392"/>
                  <a:gd name="connsiteX2" fmla="*/ 155258 w 247650"/>
                  <a:gd name="connsiteY2" fmla="*/ 0 h 92392"/>
                  <a:gd name="connsiteX3" fmla="*/ 247650 w 247650"/>
                  <a:gd name="connsiteY3" fmla="*/ 92393 h 92392"/>
                  <a:gd name="connsiteX4" fmla="*/ 130493 w 247650"/>
                  <a:gd name="connsiteY4" fmla="*/ 92393 h 92392"/>
                  <a:gd name="connsiteX5" fmla="*/ 61913 w 247650"/>
                  <a:gd name="connsiteY5" fmla="*/ 92393 h 92392"/>
                  <a:gd name="connsiteX6" fmla="*/ 0 w 247650"/>
                  <a:gd name="connsiteY6" fmla="*/ 92393 h 92392"/>
                  <a:gd name="connsiteX7" fmla="*/ 65723 w 247650"/>
                  <a:gd name="connsiteY7" fmla="*/ 26670 h 92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7650" h="92392">
                    <a:moveTo>
                      <a:pt x="65723" y="26670"/>
                    </a:moveTo>
                    <a:cubicBezTo>
                      <a:pt x="73343" y="26670"/>
                      <a:pt x="80010" y="27622"/>
                      <a:pt x="86677" y="30480"/>
                    </a:cubicBezTo>
                    <a:cubicBezTo>
                      <a:pt x="103823" y="11430"/>
                      <a:pt x="127635" y="0"/>
                      <a:pt x="155258" y="0"/>
                    </a:cubicBezTo>
                    <a:cubicBezTo>
                      <a:pt x="206693" y="0"/>
                      <a:pt x="247650" y="40957"/>
                      <a:pt x="247650" y="92393"/>
                    </a:cubicBezTo>
                    <a:lnTo>
                      <a:pt x="130493" y="92393"/>
                    </a:lnTo>
                    <a:lnTo>
                      <a:pt x="61913" y="92393"/>
                    </a:lnTo>
                    <a:lnTo>
                      <a:pt x="0" y="92393"/>
                    </a:lnTo>
                    <a:cubicBezTo>
                      <a:pt x="0" y="56197"/>
                      <a:pt x="29528" y="26670"/>
                      <a:pt x="65723" y="2667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sp>
        <p:nvSpPr>
          <p:cNvPr id="90" name="文本框 89"/>
          <p:cNvSpPr txBox="1"/>
          <p:nvPr/>
        </p:nvSpPr>
        <p:spPr>
          <a:xfrm>
            <a:off x="783590" y="1028700"/>
            <a:ext cx="11055350" cy="160020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indent="457200">
              <a:lnSpc>
                <a:spcPct val="200000"/>
              </a:lnSpc>
            </a:pPr>
            <a:r>
              <a:rPr lang="zh-CN" altLang="en-US"/>
              <a:t>Autoencoder is an unsupervised artificial neural network that is trained to copy its input to output. In the case of image data, the autoencoder will first encode the image into a lower-dimensional representation, then decodes that representation back to the image. Encoder-Decoder automatically consists of the following two structures:</a:t>
            </a:r>
          </a:p>
        </p:txBody>
      </p:sp>
      <p:pic>
        <p:nvPicPr>
          <p:cNvPr id="110" name="图片 109"/>
          <p:cNvPicPr/>
          <p:nvPr/>
        </p:nvPicPr>
        <p:blipFill>
          <a:blip r:embed="rId3"/>
          <a:stretch>
            <a:fillRect/>
          </a:stretch>
        </p:blipFill>
        <p:spPr>
          <a:xfrm>
            <a:off x="669925" y="3442335"/>
            <a:ext cx="7620000" cy="3333750"/>
          </a:xfrm>
          <a:prstGeom prst="rect">
            <a:avLst/>
          </a:prstGeom>
          <a:noFill/>
          <a:ln w="9525">
            <a:noFill/>
          </a:ln>
        </p:spPr>
      </p:pic>
    </p:spTree>
    <p:custDataLst>
      <p:tags r:id="rId1"/>
    </p:custData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Image Denoising Autoencoder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8</a:t>
            </a:fld>
            <a:endParaRPr lang="zh-CN" altLang="en-US"/>
          </a:p>
        </p:txBody>
      </p:sp>
      <p:grpSp>
        <p:nvGrpSpPr>
          <p:cNvPr id="5" name="组合 4"/>
          <p:cNvGrpSpPr/>
          <p:nvPr/>
        </p:nvGrpSpPr>
        <p:grpSpPr>
          <a:xfrm>
            <a:off x="8358909" y="5477164"/>
            <a:ext cx="3719729" cy="1298762"/>
            <a:chOff x="2772569" y="2151697"/>
            <a:chExt cx="6719888" cy="2554605"/>
          </a:xfrm>
        </p:grpSpPr>
        <p:grpSp>
          <p:nvGrpSpPr>
            <p:cNvPr id="6" name="组合 5"/>
            <p:cNvGrpSpPr/>
            <p:nvPr/>
          </p:nvGrpSpPr>
          <p:grpSpPr>
            <a:xfrm>
              <a:off x="7873207" y="2151697"/>
              <a:ext cx="1093469" cy="2553652"/>
              <a:chOff x="7838122" y="219075"/>
              <a:chExt cx="1093469" cy="2553652"/>
            </a:xfrm>
          </p:grpSpPr>
          <p:sp>
            <p:nvSpPr>
              <p:cNvPr id="79" name="任意多边形 157"/>
              <p:cNvSpPr/>
              <p:nvPr/>
            </p:nvSpPr>
            <p:spPr>
              <a:xfrm>
                <a:off x="8309609" y="280987"/>
                <a:ext cx="151447" cy="2491740"/>
              </a:xfrm>
              <a:custGeom>
                <a:avLst/>
                <a:gdLst>
                  <a:gd name="connsiteX0" fmla="*/ 151447 w 151447"/>
                  <a:gd name="connsiteY0" fmla="*/ 2491740 h 2491740"/>
                  <a:gd name="connsiteX1" fmla="*/ 0 w 151447"/>
                  <a:gd name="connsiteY1" fmla="*/ 2491740 h 2491740"/>
                  <a:gd name="connsiteX2" fmla="*/ 52388 w 151447"/>
                  <a:gd name="connsiteY2" fmla="*/ 0 h 2491740"/>
                  <a:gd name="connsiteX3" fmla="*/ 99060 w 151447"/>
                  <a:gd name="connsiteY3" fmla="*/ 0 h 249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1447" h="2491740">
                    <a:moveTo>
                      <a:pt x="151447" y="2491740"/>
                    </a:moveTo>
                    <a:lnTo>
                      <a:pt x="0" y="2491740"/>
                    </a:lnTo>
                    <a:lnTo>
                      <a:pt x="52388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80" name="组合 79"/>
              <p:cNvGrpSpPr/>
              <p:nvPr/>
            </p:nvGrpSpPr>
            <p:grpSpPr>
              <a:xfrm>
                <a:off x="7838122" y="219075"/>
                <a:ext cx="1093469" cy="1788795"/>
                <a:chOff x="7838122" y="219075"/>
                <a:chExt cx="1093469" cy="1788795"/>
              </a:xfrm>
            </p:grpSpPr>
            <p:sp>
              <p:nvSpPr>
                <p:cNvPr id="81" name="任意多边形 159"/>
                <p:cNvSpPr/>
                <p:nvPr/>
              </p:nvSpPr>
              <p:spPr>
                <a:xfrm>
                  <a:off x="7838122" y="1418272"/>
                  <a:ext cx="1093469" cy="589597"/>
                </a:xfrm>
                <a:custGeom>
                  <a:avLst/>
                  <a:gdLst>
                    <a:gd name="connsiteX0" fmla="*/ 542925 w 1093469"/>
                    <a:gd name="connsiteY0" fmla="*/ 0 h 589597"/>
                    <a:gd name="connsiteX1" fmla="*/ 0 w 1093469"/>
                    <a:gd name="connsiteY1" fmla="*/ 589598 h 589597"/>
                    <a:gd name="connsiteX2" fmla="*/ 546735 w 1093469"/>
                    <a:gd name="connsiteY2" fmla="*/ 589598 h 589597"/>
                    <a:gd name="connsiteX3" fmla="*/ 1093470 w 1093469"/>
                    <a:gd name="connsiteY3" fmla="*/ 589598 h 589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93469" h="589597">
                      <a:moveTo>
                        <a:pt x="542925" y="0"/>
                      </a:moveTo>
                      <a:lnTo>
                        <a:pt x="0" y="589598"/>
                      </a:lnTo>
                      <a:lnTo>
                        <a:pt x="546735" y="589598"/>
                      </a:lnTo>
                      <a:lnTo>
                        <a:pt x="1093470" y="589598"/>
                      </a:ln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2" name="任意多边形 160"/>
                <p:cNvSpPr/>
                <p:nvPr/>
              </p:nvSpPr>
              <p:spPr>
                <a:xfrm>
                  <a:off x="7892414" y="1091564"/>
                  <a:ext cx="979170" cy="480060"/>
                </a:xfrm>
                <a:custGeom>
                  <a:avLst/>
                  <a:gdLst>
                    <a:gd name="connsiteX0" fmla="*/ 486728 w 979170"/>
                    <a:gd name="connsiteY0" fmla="*/ 0 h 480060"/>
                    <a:gd name="connsiteX1" fmla="*/ 0 w 979170"/>
                    <a:gd name="connsiteY1" fmla="*/ 480060 h 480060"/>
                    <a:gd name="connsiteX2" fmla="*/ 489585 w 979170"/>
                    <a:gd name="connsiteY2" fmla="*/ 480060 h 480060"/>
                    <a:gd name="connsiteX3" fmla="*/ 979170 w 979170"/>
                    <a:gd name="connsiteY3" fmla="*/ 480060 h 4800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9170" h="480060">
                      <a:moveTo>
                        <a:pt x="486728" y="0"/>
                      </a:moveTo>
                      <a:lnTo>
                        <a:pt x="0" y="480060"/>
                      </a:lnTo>
                      <a:lnTo>
                        <a:pt x="489585" y="480060"/>
                      </a:lnTo>
                      <a:lnTo>
                        <a:pt x="979170" y="480060"/>
                      </a:ln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3" name="任意多边形 161"/>
                <p:cNvSpPr/>
                <p:nvPr/>
              </p:nvSpPr>
              <p:spPr>
                <a:xfrm>
                  <a:off x="7937181" y="819150"/>
                  <a:ext cx="886777" cy="398145"/>
                </a:xfrm>
                <a:custGeom>
                  <a:avLst/>
                  <a:gdLst>
                    <a:gd name="connsiteX0" fmla="*/ 441007 w 886777"/>
                    <a:gd name="connsiteY0" fmla="*/ 0 h 398145"/>
                    <a:gd name="connsiteX1" fmla="*/ 0 w 886777"/>
                    <a:gd name="connsiteY1" fmla="*/ 398145 h 398145"/>
                    <a:gd name="connsiteX2" fmla="*/ 442913 w 886777"/>
                    <a:gd name="connsiteY2" fmla="*/ 398145 h 398145"/>
                    <a:gd name="connsiteX3" fmla="*/ 886778 w 886777"/>
                    <a:gd name="connsiteY3" fmla="*/ 398145 h 3981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86777" h="398145">
                      <a:moveTo>
                        <a:pt x="441007" y="0"/>
                      </a:moveTo>
                      <a:lnTo>
                        <a:pt x="0" y="398145"/>
                      </a:lnTo>
                      <a:lnTo>
                        <a:pt x="442913" y="398145"/>
                      </a:lnTo>
                      <a:lnTo>
                        <a:pt x="886778" y="398145"/>
                      </a:ln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4" name="任意多边形 162"/>
                <p:cNvSpPr/>
                <p:nvPr/>
              </p:nvSpPr>
              <p:spPr>
                <a:xfrm>
                  <a:off x="7973376" y="587692"/>
                  <a:ext cx="809625" cy="336232"/>
                </a:xfrm>
                <a:custGeom>
                  <a:avLst/>
                  <a:gdLst>
                    <a:gd name="connsiteX0" fmla="*/ 402908 w 809625"/>
                    <a:gd name="connsiteY0" fmla="*/ 0 h 336232"/>
                    <a:gd name="connsiteX1" fmla="*/ 0 w 809625"/>
                    <a:gd name="connsiteY1" fmla="*/ 336233 h 336232"/>
                    <a:gd name="connsiteX2" fmla="*/ 404813 w 809625"/>
                    <a:gd name="connsiteY2" fmla="*/ 336233 h 336232"/>
                    <a:gd name="connsiteX3" fmla="*/ 809625 w 809625"/>
                    <a:gd name="connsiteY3" fmla="*/ 336233 h 336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9625" h="336232">
                      <a:moveTo>
                        <a:pt x="402908" y="0"/>
                      </a:moveTo>
                      <a:lnTo>
                        <a:pt x="0" y="336233"/>
                      </a:lnTo>
                      <a:lnTo>
                        <a:pt x="404813" y="336233"/>
                      </a:lnTo>
                      <a:lnTo>
                        <a:pt x="809625" y="336233"/>
                      </a:lnTo>
                      <a:close/>
                    </a:path>
                  </a:pathLst>
                </a:custGeom>
                <a:solidFill>
                  <a:srgbClr val="45BC5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5" name="任意多边形 163"/>
                <p:cNvSpPr/>
                <p:nvPr/>
              </p:nvSpPr>
              <p:spPr>
                <a:xfrm>
                  <a:off x="8003856" y="390525"/>
                  <a:ext cx="745807" cy="286702"/>
                </a:xfrm>
                <a:custGeom>
                  <a:avLst/>
                  <a:gdLst>
                    <a:gd name="connsiteX0" fmla="*/ 371475 w 745807"/>
                    <a:gd name="connsiteY0" fmla="*/ 0 h 286702"/>
                    <a:gd name="connsiteX1" fmla="*/ 0 w 745807"/>
                    <a:gd name="connsiteY1" fmla="*/ 286703 h 286702"/>
                    <a:gd name="connsiteX2" fmla="*/ 373380 w 745807"/>
                    <a:gd name="connsiteY2" fmla="*/ 286703 h 286702"/>
                    <a:gd name="connsiteX3" fmla="*/ 745807 w 745807"/>
                    <a:gd name="connsiteY3" fmla="*/ 286703 h 286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5807" h="286702">
                      <a:moveTo>
                        <a:pt x="371475" y="0"/>
                      </a:moveTo>
                      <a:lnTo>
                        <a:pt x="0" y="286703"/>
                      </a:lnTo>
                      <a:lnTo>
                        <a:pt x="373380" y="286703"/>
                      </a:lnTo>
                      <a:lnTo>
                        <a:pt x="745807" y="286703"/>
                      </a:ln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6" name="任意多边形 164"/>
                <p:cNvSpPr/>
                <p:nvPr/>
              </p:nvSpPr>
              <p:spPr>
                <a:xfrm>
                  <a:off x="8030526" y="219075"/>
                  <a:ext cx="690562" cy="248602"/>
                </a:xfrm>
                <a:custGeom>
                  <a:avLst/>
                  <a:gdLst>
                    <a:gd name="connsiteX0" fmla="*/ 343853 w 690562"/>
                    <a:gd name="connsiteY0" fmla="*/ 0 h 248602"/>
                    <a:gd name="connsiteX1" fmla="*/ 0 w 690562"/>
                    <a:gd name="connsiteY1" fmla="*/ 248603 h 248602"/>
                    <a:gd name="connsiteX2" fmla="*/ 344805 w 690562"/>
                    <a:gd name="connsiteY2" fmla="*/ 248603 h 248602"/>
                    <a:gd name="connsiteX3" fmla="*/ 690563 w 690562"/>
                    <a:gd name="connsiteY3" fmla="*/ 248603 h 2486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0562" h="248602">
                      <a:moveTo>
                        <a:pt x="343853" y="0"/>
                      </a:moveTo>
                      <a:lnTo>
                        <a:pt x="0" y="248603"/>
                      </a:lnTo>
                      <a:lnTo>
                        <a:pt x="344805" y="248603"/>
                      </a:lnTo>
                      <a:lnTo>
                        <a:pt x="690563" y="248603"/>
                      </a:ln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7" name="组合 6"/>
            <p:cNvGrpSpPr/>
            <p:nvPr/>
          </p:nvGrpSpPr>
          <p:grpSpPr>
            <a:xfrm>
              <a:off x="5240497" y="2258376"/>
              <a:ext cx="1892617" cy="2446972"/>
              <a:chOff x="5205412" y="325754"/>
              <a:chExt cx="1892617" cy="2446972"/>
            </a:xfrm>
          </p:grpSpPr>
          <p:sp>
            <p:nvSpPr>
              <p:cNvPr id="67" name="任意多边形 168"/>
              <p:cNvSpPr/>
              <p:nvPr/>
            </p:nvSpPr>
            <p:spPr>
              <a:xfrm>
                <a:off x="6055042" y="425767"/>
                <a:ext cx="194309" cy="2346960"/>
              </a:xfrm>
              <a:custGeom>
                <a:avLst/>
                <a:gdLst>
                  <a:gd name="connsiteX0" fmla="*/ 194310 w 194309"/>
                  <a:gd name="connsiteY0" fmla="*/ 2346960 h 2346960"/>
                  <a:gd name="connsiteX1" fmla="*/ 0 w 194309"/>
                  <a:gd name="connsiteY1" fmla="*/ 2346960 h 2346960"/>
                  <a:gd name="connsiteX2" fmla="*/ 66675 w 194309"/>
                  <a:gd name="connsiteY2" fmla="*/ 0 h 2346960"/>
                  <a:gd name="connsiteX3" fmla="*/ 127635 w 194309"/>
                  <a:gd name="connsiteY3" fmla="*/ 0 h 2346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4309" h="2346960">
                    <a:moveTo>
                      <a:pt x="194310" y="2346960"/>
                    </a:moveTo>
                    <a:lnTo>
                      <a:pt x="0" y="2346960"/>
                    </a:lnTo>
                    <a:lnTo>
                      <a:pt x="66675" y="0"/>
                    </a:lnTo>
                    <a:lnTo>
                      <a:pt x="127635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8" name="组合 67"/>
              <p:cNvGrpSpPr/>
              <p:nvPr/>
            </p:nvGrpSpPr>
            <p:grpSpPr>
              <a:xfrm>
                <a:off x="5205412" y="325754"/>
                <a:ext cx="1892617" cy="1728787"/>
                <a:chOff x="5205412" y="325754"/>
                <a:chExt cx="1892617" cy="1728787"/>
              </a:xfrm>
            </p:grpSpPr>
            <p:sp>
              <p:nvSpPr>
                <p:cNvPr id="69" name="任意多边形 170"/>
                <p:cNvSpPr/>
                <p:nvPr/>
              </p:nvSpPr>
              <p:spPr>
                <a:xfrm>
                  <a:off x="5354954" y="596264"/>
                  <a:ext cx="741044" cy="741045"/>
                </a:xfrm>
                <a:custGeom>
                  <a:avLst/>
                  <a:gdLst>
                    <a:gd name="connsiteX0" fmla="*/ 741045 w 741044"/>
                    <a:gd name="connsiteY0" fmla="*/ 370523 h 741045"/>
                    <a:gd name="connsiteX1" fmla="*/ 370522 w 741044"/>
                    <a:gd name="connsiteY1" fmla="*/ 741045 h 741045"/>
                    <a:gd name="connsiteX2" fmla="*/ 0 w 741044"/>
                    <a:gd name="connsiteY2" fmla="*/ 370523 h 741045"/>
                    <a:gd name="connsiteX3" fmla="*/ 370522 w 741044"/>
                    <a:gd name="connsiteY3" fmla="*/ 0 h 741045"/>
                    <a:gd name="connsiteX4" fmla="*/ 741045 w 741044"/>
                    <a:gd name="connsiteY4" fmla="*/ 370523 h 741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1044" h="741045">
                      <a:moveTo>
                        <a:pt x="741045" y="370523"/>
                      </a:moveTo>
                      <a:cubicBezTo>
                        <a:pt x="741045" y="575310"/>
                        <a:pt x="575310" y="741045"/>
                        <a:pt x="370522" y="741045"/>
                      </a:cubicBezTo>
                      <a:cubicBezTo>
                        <a:pt x="165735" y="741045"/>
                        <a:pt x="0" y="575310"/>
                        <a:pt x="0" y="370523"/>
                      </a:cubicBezTo>
                      <a:cubicBezTo>
                        <a:pt x="0" y="165735"/>
                        <a:pt x="165735" y="0"/>
                        <a:pt x="370522" y="0"/>
                      </a:cubicBezTo>
                      <a:cubicBezTo>
                        <a:pt x="574357" y="0"/>
                        <a:pt x="741045" y="165735"/>
                        <a:pt x="741045" y="370523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0" name="任意多边形 171"/>
                <p:cNvSpPr/>
                <p:nvPr/>
              </p:nvSpPr>
              <p:spPr>
                <a:xfrm>
                  <a:off x="6587489" y="866769"/>
                  <a:ext cx="510540" cy="510545"/>
                </a:xfrm>
                <a:custGeom>
                  <a:avLst/>
                  <a:gdLst>
                    <a:gd name="connsiteX0" fmla="*/ 510540 w 510540"/>
                    <a:gd name="connsiteY0" fmla="*/ 255276 h 510545"/>
                    <a:gd name="connsiteX1" fmla="*/ 255270 w 510540"/>
                    <a:gd name="connsiteY1" fmla="*/ 510546 h 510545"/>
                    <a:gd name="connsiteX2" fmla="*/ 0 w 510540"/>
                    <a:gd name="connsiteY2" fmla="*/ 255276 h 510545"/>
                    <a:gd name="connsiteX3" fmla="*/ 255270 w 510540"/>
                    <a:gd name="connsiteY3" fmla="*/ 6 h 510545"/>
                    <a:gd name="connsiteX4" fmla="*/ 510540 w 510540"/>
                    <a:gd name="connsiteY4" fmla="*/ 255276 h 5105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0540" h="510545">
                      <a:moveTo>
                        <a:pt x="510540" y="255276"/>
                      </a:moveTo>
                      <a:cubicBezTo>
                        <a:pt x="510540" y="396246"/>
                        <a:pt x="396240" y="510546"/>
                        <a:pt x="255270" y="510546"/>
                      </a:cubicBezTo>
                      <a:cubicBezTo>
                        <a:pt x="114300" y="510546"/>
                        <a:pt x="0" y="396246"/>
                        <a:pt x="0" y="255276"/>
                      </a:cubicBezTo>
                      <a:cubicBezTo>
                        <a:pt x="0" y="114306"/>
                        <a:pt x="114300" y="6"/>
                        <a:pt x="255270" y="6"/>
                      </a:cubicBezTo>
                      <a:cubicBezTo>
                        <a:pt x="396240" y="-947"/>
                        <a:pt x="510540" y="114306"/>
                        <a:pt x="510540" y="255276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1" name="任意多边形 172"/>
                <p:cNvSpPr/>
                <p:nvPr/>
              </p:nvSpPr>
              <p:spPr>
                <a:xfrm>
                  <a:off x="5427344" y="545782"/>
                  <a:ext cx="1508760" cy="1508759"/>
                </a:xfrm>
                <a:custGeom>
                  <a:avLst/>
                  <a:gdLst>
                    <a:gd name="connsiteX0" fmla="*/ 1508760 w 1508760"/>
                    <a:gd name="connsiteY0" fmla="*/ 754380 h 1508759"/>
                    <a:gd name="connsiteX1" fmla="*/ 754380 w 1508760"/>
                    <a:gd name="connsiteY1" fmla="*/ 1508760 h 1508759"/>
                    <a:gd name="connsiteX2" fmla="*/ 0 w 1508760"/>
                    <a:gd name="connsiteY2" fmla="*/ 754380 h 1508759"/>
                    <a:gd name="connsiteX3" fmla="*/ 754380 w 1508760"/>
                    <a:gd name="connsiteY3" fmla="*/ 0 h 1508759"/>
                    <a:gd name="connsiteX4" fmla="*/ 1508760 w 1508760"/>
                    <a:gd name="connsiteY4" fmla="*/ 754380 h 1508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760" h="1508759">
                      <a:moveTo>
                        <a:pt x="1508760" y="754380"/>
                      </a:moveTo>
                      <a:cubicBezTo>
                        <a:pt x="1508760" y="1170623"/>
                        <a:pt x="1171575" y="1508760"/>
                        <a:pt x="754380" y="1508760"/>
                      </a:cubicBezTo>
                      <a:cubicBezTo>
                        <a:pt x="338138" y="1508760"/>
                        <a:pt x="0" y="1171575"/>
                        <a:pt x="0" y="754380"/>
                      </a:cubicBezTo>
                      <a:cubicBezTo>
                        <a:pt x="0" y="338138"/>
                        <a:pt x="337185" y="0"/>
                        <a:pt x="754380" y="0"/>
                      </a:cubicBezTo>
                      <a:cubicBezTo>
                        <a:pt x="1171575" y="953"/>
                        <a:pt x="1508760" y="338138"/>
                        <a:pt x="1508760" y="754380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2" name="任意多边形 173"/>
                <p:cNvSpPr/>
                <p:nvPr/>
              </p:nvSpPr>
              <p:spPr>
                <a:xfrm>
                  <a:off x="5205412" y="1026795"/>
                  <a:ext cx="798194" cy="798195"/>
                </a:xfrm>
                <a:custGeom>
                  <a:avLst/>
                  <a:gdLst>
                    <a:gd name="connsiteX0" fmla="*/ 798195 w 798194"/>
                    <a:gd name="connsiteY0" fmla="*/ 399097 h 798195"/>
                    <a:gd name="connsiteX1" fmla="*/ 399097 w 798194"/>
                    <a:gd name="connsiteY1" fmla="*/ 798195 h 798195"/>
                    <a:gd name="connsiteX2" fmla="*/ 0 w 798194"/>
                    <a:gd name="connsiteY2" fmla="*/ 399097 h 798195"/>
                    <a:gd name="connsiteX3" fmla="*/ 399097 w 798194"/>
                    <a:gd name="connsiteY3" fmla="*/ 0 h 798195"/>
                    <a:gd name="connsiteX4" fmla="*/ 798195 w 798194"/>
                    <a:gd name="connsiteY4" fmla="*/ 399097 h 798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98194" h="798195">
                      <a:moveTo>
                        <a:pt x="798195" y="399097"/>
                      </a:moveTo>
                      <a:cubicBezTo>
                        <a:pt x="798195" y="619125"/>
                        <a:pt x="619125" y="798195"/>
                        <a:pt x="399097" y="798195"/>
                      </a:cubicBezTo>
                      <a:cubicBezTo>
                        <a:pt x="179070" y="798195"/>
                        <a:pt x="0" y="619125"/>
                        <a:pt x="0" y="399097"/>
                      </a:cubicBezTo>
                      <a:cubicBezTo>
                        <a:pt x="0" y="179070"/>
                        <a:pt x="179070" y="0"/>
                        <a:pt x="399097" y="0"/>
                      </a:cubicBezTo>
                      <a:cubicBezTo>
                        <a:pt x="619125" y="0"/>
                        <a:pt x="798195" y="179070"/>
                        <a:pt x="798195" y="399097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3" name="任意多边形 174"/>
                <p:cNvSpPr/>
                <p:nvPr/>
              </p:nvSpPr>
              <p:spPr>
                <a:xfrm>
                  <a:off x="6276021" y="1425892"/>
                  <a:ext cx="609600" cy="609600"/>
                </a:xfrm>
                <a:custGeom>
                  <a:avLst/>
                  <a:gdLst>
                    <a:gd name="connsiteX0" fmla="*/ 609600 w 609600"/>
                    <a:gd name="connsiteY0" fmla="*/ 304800 h 609600"/>
                    <a:gd name="connsiteX1" fmla="*/ 304800 w 609600"/>
                    <a:gd name="connsiteY1" fmla="*/ 609600 h 609600"/>
                    <a:gd name="connsiteX2" fmla="*/ 0 w 609600"/>
                    <a:gd name="connsiteY2" fmla="*/ 304800 h 609600"/>
                    <a:gd name="connsiteX3" fmla="*/ 304800 w 609600"/>
                    <a:gd name="connsiteY3" fmla="*/ 0 h 609600"/>
                    <a:gd name="connsiteX4" fmla="*/ 609600 w 609600"/>
                    <a:gd name="connsiteY4" fmla="*/ 304800 h 609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9600" h="609600">
                      <a:moveTo>
                        <a:pt x="609600" y="304800"/>
                      </a:moveTo>
                      <a:cubicBezTo>
                        <a:pt x="609600" y="473392"/>
                        <a:pt x="473393" y="609600"/>
                        <a:pt x="304800" y="609600"/>
                      </a:cubicBezTo>
                      <a:cubicBezTo>
                        <a:pt x="136208" y="609600"/>
                        <a:pt x="0" y="473392"/>
                        <a:pt x="0" y="304800"/>
                      </a:cubicBezTo>
                      <a:cubicBezTo>
                        <a:pt x="0" y="136208"/>
                        <a:pt x="136208" y="0"/>
                        <a:pt x="304800" y="0"/>
                      </a:cubicBezTo>
                      <a:cubicBezTo>
                        <a:pt x="473393" y="0"/>
                        <a:pt x="609600" y="136208"/>
                        <a:pt x="609600" y="30480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4" name="任意多边形 175"/>
                <p:cNvSpPr/>
                <p:nvPr/>
              </p:nvSpPr>
              <p:spPr>
                <a:xfrm>
                  <a:off x="5838824" y="325754"/>
                  <a:ext cx="1003934" cy="1003934"/>
                </a:xfrm>
                <a:custGeom>
                  <a:avLst/>
                  <a:gdLst>
                    <a:gd name="connsiteX0" fmla="*/ 1003935 w 1003934"/>
                    <a:gd name="connsiteY0" fmla="*/ 501968 h 1003934"/>
                    <a:gd name="connsiteX1" fmla="*/ 501968 w 1003934"/>
                    <a:gd name="connsiteY1" fmla="*/ 1003935 h 1003934"/>
                    <a:gd name="connsiteX2" fmla="*/ 0 w 1003934"/>
                    <a:gd name="connsiteY2" fmla="*/ 501968 h 1003934"/>
                    <a:gd name="connsiteX3" fmla="*/ 501968 w 1003934"/>
                    <a:gd name="connsiteY3" fmla="*/ 0 h 1003934"/>
                    <a:gd name="connsiteX4" fmla="*/ 1003935 w 1003934"/>
                    <a:gd name="connsiteY4" fmla="*/ 501968 h 1003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3934" h="1003934">
                      <a:moveTo>
                        <a:pt x="1003935" y="501968"/>
                      </a:moveTo>
                      <a:cubicBezTo>
                        <a:pt x="1003935" y="779145"/>
                        <a:pt x="779145" y="1003935"/>
                        <a:pt x="501968" y="1003935"/>
                      </a:cubicBezTo>
                      <a:cubicBezTo>
                        <a:pt x="224790" y="1003935"/>
                        <a:pt x="0" y="779145"/>
                        <a:pt x="0" y="501968"/>
                      </a:cubicBezTo>
                      <a:cubicBezTo>
                        <a:pt x="0" y="224790"/>
                        <a:pt x="224790" y="0"/>
                        <a:pt x="501968" y="0"/>
                      </a:cubicBezTo>
                      <a:cubicBezTo>
                        <a:pt x="779145" y="0"/>
                        <a:pt x="1003935" y="224790"/>
                        <a:pt x="1003935" y="501968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5" name="任意多边形 176"/>
                <p:cNvSpPr/>
                <p:nvPr/>
              </p:nvSpPr>
              <p:spPr>
                <a:xfrm>
                  <a:off x="6095046" y="1067752"/>
                  <a:ext cx="716280" cy="716280"/>
                </a:xfrm>
                <a:custGeom>
                  <a:avLst/>
                  <a:gdLst>
                    <a:gd name="connsiteX0" fmla="*/ 716280 w 716280"/>
                    <a:gd name="connsiteY0" fmla="*/ 358140 h 716280"/>
                    <a:gd name="connsiteX1" fmla="*/ 358140 w 716280"/>
                    <a:gd name="connsiteY1" fmla="*/ 716280 h 716280"/>
                    <a:gd name="connsiteX2" fmla="*/ 0 w 716280"/>
                    <a:gd name="connsiteY2" fmla="*/ 358140 h 716280"/>
                    <a:gd name="connsiteX3" fmla="*/ 358140 w 716280"/>
                    <a:gd name="connsiteY3" fmla="*/ 0 h 716280"/>
                    <a:gd name="connsiteX4" fmla="*/ 716280 w 716280"/>
                    <a:gd name="connsiteY4" fmla="*/ 358140 h 716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6280" h="716280">
                      <a:moveTo>
                        <a:pt x="716280" y="358140"/>
                      </a:moveTo>
                      <a:cubicBezTo>
                        <a:pt x="716280" y="556260"/>
                        <a:pt x="556260" y="716280"/>
                        <a:pt x="358140" y="716280"/>
                      </a:cubicBezTo>
                      <a:cubicBezTo>
                        <a:pt x="160020" y="716280"/>
                        <a:pt x="0" y="556260"/>
                        <a:pt x="0" y="358140"/>
                      </a:cubicBezTo>
                      <a:cubicBezTo>
                        <a:pt x="0" y="160020"/>
                        <a:pt x="160020" y="0"/>
                        <a:pt x="358140" y="0"/>
                      </a:cubicBezTo>
                      <a:cubicBezTo>
                        <a:pt x="556260" y="0"/>
                        <a:pt x="716280" y="160020"/>
                        <a:pt x="716280" y="35814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" name="任意多边形 177"/>
                <p:cNvSpPr/>
                <p:nvPr/>
              </p:nvSpPr>
              <p:spPr>
                <a:xfrm>
                  <a:off x="5825489" y="1122045"/>
                  <a:ext cx="356234" cy="356234"/>
                </a:xfrm>
                <a:custGeom>
                  <a:avLst/>
                  <a:gdLst>
                    <a:gd name="connsiteX0" fmla="*/ 356235 w 356234"/>
                    <a:gd name="connsiteY0" fmla="*/ 178117 h 356234"/>
                    <a:gd name="connsiteX1" fmla="*/ 178117 w 356234"/>
                    <a:gd name="connsiteY1" fmla="*/ 356235 h 356234"/>
                    <a:gd name="connsiteX2" fmla="*/ 0 w 356234"/>
                    <a:gd name="connsiteY2" fmla="*/ 178117 h 356234"/>
                    <a:gd name="connsiteX3" fmla="*/ 178117 w 356234"/>
                    <a:gd name="connsiteY3" fmla="*/ 0 h 356234"/>
                    <a:gd name="connsiteX4" fmla="*/ 356235 w 356234"/>
                    <a:gd name="connsiteY4" fmla="*/ 178117 h 3562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234" h="356234">
                      <a:moveTo>
                        <a:pt x="356235" y="178117"/>
                      </a:moveTo>
                      <a:cubicBezTo>
                        <a:pt x="356235" y="276225"/>
                        <a:pt x="276225" y="356235"/>
                        <a:pt x="178117" y="356235"/>
                      </a:cubicBezTo>
                      <a:cubicBezTo>
                        <a:pt x="80010" y="356235"/>
                        <a:pt x="0" y="276225"/>
                        <a:pt x="0" y="178117"/>
                      </a:cubicBezTo>
                      <a:cubicBezTo>
                        <a:pt x="0" y="80010"/>
                        <a:pt x="80010" y="0"/>
                        <a:pt x="178117" y="0"/>
                      </a:cubicBezTo>
                      <a:cubicBezTo>
                        <a:pt x="277178" y="0"/>
                        <a:pt x="356235" y="80010"/>
                        <a:pt x="356235" y="178117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7" name="任意多边形 178"/>
                <p:cNvSpPr/>
                <p:nvPr/>
              </p:nvSpPr>
              <p:spPr>
                <a:xfrm>
                  <a:off x="6644639" y="1199197"/>
                  <a:ext cx="419100" cy="419099"/>
                </a:xfrm>
                <a:custGeom>
                  <a:avLst/>
                  <a:gdLst>
                    <a:gd name="connsiteX0" fmla="*/ 419100 w 419100"/>
                    <a:gd name="connsiteY0" fmla="*/ 209550 h 419099"/>
                    <a:gd name="connsiteX1" fmla="*/ 209550 w 419100"/>
                    <a:gd name="connsiteY1" fmla="*/ 419100 h 419099"/>
                    <a:gd name="connsiteX2" fmla="*/ 0 w 419100"/>
                    <a:gd name="connsiteY2" fmla="*/ 209550 h 419099"/>
                    <a:gd name="connsiteX3" fmla="*/ 209550 w 419100"/>
                    <a:gd name="connsiteY3" fmla="*/ 0 h 419099"/>
                    <a:gd name="connsiteX4" fmla="*/ 419100 w 419100"/>
                    <a:gd name="connsiteY4" fmla="*/ 209550 h 419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9100" h="419099">
                      <a:moveTo>
                        <a:pt x="419100" y="209550"/>
                      </a:moveTo>
                      <a:cubicBezTo>
                        <a:pt x="419100" y="325755"/>
                        <a:pt x="324803" y="419100"/>
                        <a:pt x="209550" y="419100"/>
                      </a:cubicBezTo>
                      <a:cubicBezTo>
                        <a:pt x="93345" y="419100"/>
                        <a:pt x="0" y="324803"/>
                        <a:pt x="0" y="209550"/>
                      </a:cubicBezTo>
                      <a:cubicBezTo>
                        <a:pt x="0" y="93345"/>
                        <a:pt x="94297" y="0"/>
                        <a:pt x="209550" y="0"/>
                      </a:cubicBezTo>
                      <a:cubicBezTo>
                        <a:pt x="325755" y="0"/>
                        <a:pt x="419100" y="94298"/>
                        <a:pt x="419100" y="20955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8" name="任意多边形 179"/>
                <p:cNvSpPr/>
                <p:nvPr/>
              </p:nvSpPr>
              <p:spPr>
                <a:xfrm>
                  <a:off x="5653087" y="1349692"/>
                  <a:ext cx="499109" cy="499110"/>
                </a:xfrm>
                <a:custGeom>
                  <a:avLst/>
                  <a:gdLst>
                    <a:gd name="connsiteX0" fmla="*/ 499110 w 499109"/>
                    <a:gd name="connsiteY0" fmla="*/ 249555 h 499110"/>
                    <a:gd name="connsiteX1" fmla="*/ 249555 w 499109"/>
                    <a:gd name="connsiteY1" fmla="*/ 499110 h 499110"/>
                    <a:gd name="connsiteX2" fmla="*/ 0 w 499109"/>
                    <a:gd name="connsiteY2" fmla="*/ 249555 h 499110"/>
                    <a:gd name="connsiteX3" fmla="*/ 249555 w 499109"/>
                    <a:gd name="connsiteY3" fmla="*/ 0 h 499110"/>
                    <a:gd name="connsiteX4" fmla="*/ 499110 w 499109"/>
                    <a:gd name="connsiteY4" fmla="*/ 249555 h 499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9109" h="499110">
                      <a:moveTo>
                        <a:pt x="499110" y="249555"/>
                      </a:moveTo>
                      <a:cubicBezTo>
                        <a:pt x="499110" y="387667"/>
                        <a:pt x="387668" y="499110"/>
                        <a:pt x="249555" y="499110"/>
                      </a:cubicBezTo>
                      <a:cubicBezTo>
                        <a:pt x="111443" y="499110"/>
                        <a:pt x="0" y="387667"/>
                        <a:pt x="0" y="249555"/>
                      </a:cubicBezTo>
                      <a:cubicBezTo>
                        <a:pt x="0" y="111442"/>
                        <a:pt x="111443" y="0"/>
                        <a:pt x="249555" y="0"/>
                      </a:cubicBezTo>
                      <a:cubicBezTo>
                        <a:pt x="386715" y="0"/>
                        <a:pt x="499110" y="111442"/>
                        <a:pt x="499110" y="249555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8" name="组合 7"/>
            <p:cNvGrpSpPr/>
            <p:nvPr/>
          </p:nvGrpSpPr>
          <p:grpSpPr>
            <a:xfrm>
              <a:off x="3252047" y="2196916"/>
              <a:ext cx="995191" cy="2508433"/>
              <a:chOff x="3216962" y="264294"/>
              <a:chExt cx="995191" cy="2508433"/>
            </a:xfrm>
          </p:grpSpPr>
          <p:sp>
            <p:nvSpPr>
              <p:cNvPr id="56" name="任意多边形 183"/>
              <p:cNvSpPr/>
              <p:nvPr/>
            </p:nvSpPr>
            <p:spPr>
              <a:xfrm>
                <a:off x="3281110" y="264294"/>
                <a:ext cx="868010" cy="2011450"/>
              </a:xfrm>
              <a:custGeom>
                <a:avLst/>
                <a:gdLst>
                  <a:gd name="connsiteX0" fmla="*/ 526032 w 868010"/>
                  <a:gd name="connsiteY0" fmla="*/ 1999798 h 2011450"/>
                  <a:gd name="connsiteX1" fmla="*/ 838452 w 868010"/>
                  <a:gd name="connsiteY1" fmla="*/ 1649278 h 2011450"/>
                  <a:gd name="connsiteX2" fmla="*/ 768919 w 868010"/>
                  <a:gd name="connsiteY2" fmla="*/ 172903 h 2011450"/>
                  <a:gd name="connsiteX3" fmla="*/ 105979 w 868010"/>
                  <a:gd name="connsiteY3" fmla="*/ 97656 h 2011450"/>
                  <a:gd name="connsiteX4" fmla="*/ 35495 w 868010"/>
                  <a:gd name="connsiteY4" fmla="*/ 1321618 h 2011450"/>
                  <a:gd name="connsiteX5" fmla="*/ 526032 w 868010"/>
                  <a:gd name="connsiteY5" fmla="*/ 1999798 h 201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8010" h="2011450">
                    <a:moveTo>
                      <a:pt x="526032" y="1999798"/>
                    </a:moveTo>
                    <a:cubicBezTo>
                      <a:pt x="643190" y="1975033"/>
                      <a:pt x="826069" y="1932171"/>
                      <a:pt x="838452" y="1649278"/>
                    </a:cubicBezTo>
                    <a:cubicBezTo>
                      <a:pt x="850835" y="1367338"/>
                      <a:pt x="927987" y="352926"/>
                      <a:pt x="768919" y="172903"/>
                    </a:cubicBezTo>
                    <a:cubicBezTo>
                      <a:pt x="609852" y="-8072"/>
                      <a:pt x="305052" y="-69032"/>
                      <a:pt x="105979" y="97656"/>
                    </a:cubicBezTo>
                    <a:cubicBezTo>
                      <a:pt x="-93093" y="263391"/>
                      <a:pt x="52639" y="1125403"/>
                      <a:pt x="35495" y="1321618"/>
                    </a:cubicBezTo>
                    <a:cubicBezTo>
                      <a:pt x="17397" y="1517833"/>
                      <a:pt x="42162" y="2100763"/>
                      <a:pt x="526032" y="19997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 184"/>
              <p:cNvSpPr/>
              <p:nvPr/>
            </p:nvSpPr>
            <p:spPr>
              <a:xfrm>
                <a:off x="3702315" y="1480537"/>
                <a:ext cx="489368" cy="580319"/>
              </a:xfrm>
              <a:custGeom>
                <a:avLst/>
                <a:gdLst>
                  <a:gd name="connsiteX0" fmla="*/ 230556 w 489368"/>
                  <a:gd name="connsiteY0" fmla="*/ 579720 h 580319"/>
                  <a:gd name="connsiteX1" fmla="*/ 462966 w 489368"/>
                  <a:gd name="connsiteY1" fmla="*/ 432083 h 580319"/>
                  <a:gd name="connsiteX2" fmla="*/ 380099 w 489368"/>
                  <a:gd name="connsiteY2" fmla="*/ 32985 h 580319"/>
                  <a:gd name="connsiteX3" fmla="*/ 21006 w 489368"/>
                  <a:gd name="connsiteY3" fmla="*/ 136808 h 580319"/>
                  <a:gd name="connsiteX4" fmla="*/ 230556 w 489368"/>
                  <a:gd name="connsiteY4" fmla="*/ 579720 h 580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9368" h="580319">
                    <a:moveTo>
                      <a:pt x="230556" y="579720"/>
                    </a:moveTo>
                    <a:cubicBezTo>
                      <a:pt x="335331" y="573053"/>
                      <a:pt x="423914" y="542573"/>
                      <a:pt x="462966" y="432083"/>
                    </a:cubicBezTo>
                    <a:cubicBezTo>
                      <a:pt x="502019" y="321593"/>
                      <a:pt x="514401" y="113948"/>
                      <a:pt x="380099" y="32985"/>
                    </a:cubicBezTo>
                    <a:cubicBezTo>
                      <a:pt x="246749" y="-47977"/>
                      <a:pt x="58154" y="32985"/>
                      <a:pt x="21006" y="136808"/>
                    </a:cubicBezTo>
                    <a:cubicBezTo>
                      <a:pt x="-16141" y="241583"/>
                      <a:pt x="-33286" y="596865"/>
                      <a:pt x="230556" y="57972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 185"/>
              <p:cNvSpPr/>
              <p:nvPr/>
            </p:nvSpPr>
            <p:spPr>
              <a:xfrm>
                <a:off x="3653789" y="948689"/>
                <a:ext cx="150495" cy="1824037"/>
              </a:xfrm>
              <a:custGeom>
                <a:avLst/>
                <a:gdLst>
                  <a:gd name="connsiteX0" fmla="*/ 150495 w 150495"/>
                  <a:gd name="connsiteY0" fmla="*/ 1824038 h 1824037"/>
                  <a:gd name="connsiteX1" fmla="*/ 0 w 150495"/>
                  <a:gd name="connsiteY1" fmla="*/ 1824038 h 1824037"/>
                  <a:gd name="connsiteX2" fmla="*/ 51435 w 150495"/>
                  <a:gd name="connsiteY2" fmla="*/ 0 h 1824037"/>
                  <a:gd name="connsiteX3" fmla="*/ 99060 w 150495"/>
                  <a:gd name="connsiteY3" fmla="*/ 0 h 1824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495" h="1824037">
                    <a:moveTo>
                      <a:pt x="150495" y="1824038"/>
                    </a:moveTo>
                    <a:lnTo>
                      <a:pt x="0" y="1824038"/>
                    </a:lnTo>
                    <a:lnTo>
                      <a:pt x="51435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 186"/>
              <p:cNvSpPr/>
              <p:nvPr/>
            </p:nvSpPr>
            <p:spPr>
              <a:xfrm>
                <a:off x="3443804" y="838200"/>
                <a:ext cx="284279" cy="289560"/>
              </a:xfrm>
              <a:custGeom>
                <a:avLst/>
                <a:gdLst>
                  <a:gd name="connsiteX0" fmla="*/ 284280 w 284279"/>
                  <a:gd name="connsiteY0" fmla="*/ 235267 h 289560"/>
                  <a:gd name="connsiteX1" fmla="*/ 64252 w 284279"/>
                  <a:gd name="connsiteY1" fmla="*/ 0 h 289560"/>
                  <a:gd name="connsiteX2" fmla="*/ 435 w 284279"/>
                  <a:gd name="connsiteY2" fmla="*/ 20002 h 289560"/>
                  <a:gd name="connsiteX3" fmla="*/ 281422 w 284279"/>
                  <a:gd name="connsiteY3" fmla="*/ 289560 h 289560"/>
                  <a:gd name="connsiteX4" fmla="*/ 284280 w 284279"/>
                  <a:gd name="connsiteY4" fmla="*/ 235267 h 289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60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 187"/>
              <p:cNvSpPr/>
              <p:nvPr/>
            </p:nvSpPr>
            <p:spPr>
              <a:xfrm>
                <a:off x="3443804" y="1560195"/>
                <a:ext cx="284279" cy="289559"/>
              </a:xfrm>
              <a:custGeom>
                <a:avLst/>
                <a:gdLst>
                  <a:gd name="connsiteX0" fmla="*/ 284280 w 284279"/>
                  <a:gd name="connsiteY0" fmla="*/ 235267 h 289559"/>
                  <a:gd name="connsiteX1" fmla="*/ 64252 w 284279"/>
                  <a:gd name="connsiteY1" fmla="*/ 0 h 289559"/>
                  <a:gd name="connsiteX2" fmla="*/ 435 w 284279"/>
                  <a:gd name="connsiteY2" fmla="*/ 20002 h 289559"/>
                  <a:gd name="connsiteX3" fmla="*/ 281422 w 284279"/>
                  <a:gd name="connsiteY3" fmla="*/ 289560 h 289559"/>
                  <a:gd name="connsiteX4" fmla="*/ 284280 w 284279"/>
                  <a:gd name="connsiteY4" fmla="*/ 235267 h 289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59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 188"/>
              <p:cNvSpPr/>
              <p:nvPr/>
            </p:nvSpPr>
            <p:spPr>
              <a:xfrm>
                <a:off x="3724274" y="1116329"/>
                <a:ext cx="317182" cy="255270"/>
              </a:xfrm>
              <a:custGeom>
                <a:avLst/>
                <a:gdLst>
                  <a:gd name="connsiteX0" fmla="*/ 5715 w 317182"/>
                  <a:gd name="connsiteY0" fmla="*/ 200978 h 255270"/>
                  <a:gd name="connsiteX1" fmla="*/ 257175 w 317182"/>
                  <a:gd name="connsiteY1" fmla="*/ 0 h 255270"/>
                  <a:gd name="connsiteX2" fmla="*/ 317183 w 317182"/>
                  <a:gd name="connsiteY2" fmla="*/ 29528 h 255270"/>
                  <a:gd name="connsiteX3" fmla="*/ 0 w 317182"/>
                  <a:gd name="connsiteY3" fmla="*/ 255270 h 255270"/>
                  <a:gd name="connsiteX4" fmla="*/ 5715 w 317182"/>
                  <a:gd name="connsiteY4" fmla="*/ 200978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7182" h="255270">
                    <a:moveTo>
                      <a:pt x="5715" y="200978"/>
                    </a:moveTo>
                    <a:cubicBezTo>
                      <a:pt x="5715" y="200978"/>
                      <a:pt x="255270" y="248603"/>
                      <a:pt x="257175" y="0"/>
                    </a:cubicBezTo>
                    <a:lnTo>
                      <a:pt x="317183" y="29528"/>
                    </a:lnTo>
                    <a:cubicBezTo>
                      <a:pt x="317183" y="29528"/>
                      <a:pt x="308610" y="252413"/>
                      <a:pt x="0" y="255270"/>
                    </a:cubicBezTo>
                    <a:lnTo>
                      <a:pt x="5715" y="2009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 189"/>
              <p:cNvSpPr/>
              <p:nvPr/>
            </p:nvSpPr>
            <p:spPr>
              <a:xfrm>
                <a:off x="3741419" y="1302067"/>
                <a:ext cx="199239" cy="294322"/>
              </a:xfrm>
              <a:custGeom>
                <a:avLst/>
                <a:gdLst>
                  <a:gd name="connsiteX0" fmla="*/ 0 w 199239"/>
                  <a:gd name="connsiteY0" fmla="*/ 239078 h 294322"/>
                  <a:gd name="connsiteX1" fmla="*/ 155257 w 199239"/>
                  <a:gd name="connsiteY1" fmla="*/ 953 h 294322"/>
                  <a:gd name="connsiteX2" fmla="*/ 199072 w 199239"/>
                  <a:gd name="connsiteY2" fmla="*/ 0 h 294322"/>
                  <a:gd name="connsiteX3" fmla="*/ 952 w 199239"/>
                  <a:gd name="connsiteY3" fmla="*/ 294323 h 294322"/>
                  <a:gd name="connsiteX4" fmla="*/ 0 w 199239"/>
                  <a:gd name="connsiteY4" fmla="*/ 239078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8"/>
                    </a:moveTo>
                    <a:cubicBezTo>
                      <a:pt x="0" y="239078"/>
                      <a:pt x="175260" y="245745"/>
                      <a:pt x="155257" y="953"/>
                    </a:cubicBezTo>
                    <a:lnTo>
                      <a:pt x="199072" y="0"/>
                    </a:lnTo>
                    <a:cubicBezTo>
                      <a:pt x="199072" y="0"/>
                      <a:pt x="212408" y="240983"/>
                      <a:pt x="952" y="294323"/>
                    </a:cubicBezTo>
                    <a:lnTo>
                      <a:pt x="0" y="2390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 190"/>
              <p:cNvSpPr/>
              <p:nvPr/>
            </p:nvSpPr>
            <p:spPr>
              <a:xfrm>
                <a:off x="3741419" y="1663065"/>
                <a:ext cx="199239" cy="294322"/>
              </a:xfrm>
              <a:custGeom>
                <a:avLst/>
                <a:gdLst>
                  <a:gd name="connsiteX0" fmla="*/ 0 w 199239"/>
                  <a:gd name="connsiteY0" fmla="*/ 239077 h 294322"/>
                  <a:gd name="connsiteX1" fmla="*/ 155257 w 199239"/>
                  <a:gd name="connsiteY1" fmla="*/ 952 h 294322"/>
                  <a:gd name="connsiteX2" fmla="*/ 199072 w 199239"/>
                  <a:gd name="connsiteY2" fmla="*/ 0 h 294322"/>
                  <a:gd name="connsiteX3" fmla="*/ 952 w 199239"/>
                  <a:gd name="connsiteY3" fmla="*/ 294322 h 294322"/>
                  <a:gd name="connsiteX4" fmla="*/ 0 w 199239"/>
                  <a:gd name="connsiteY4" fmla="*/ 239077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7"/>
                    </a:moveTo>
                    <a:cubicBezTo>
                      <a:pt x="0" y="239077"/>
                      <a:pt x="175260" y="245745"/>
                      <a:pt x="155257" y="952"/>
                    </a:cubicBezTo>
                    <a:lnTo>
                      <a:pt x="199072" y="0"/>
                    </a:lnTo>
                    <a:cubicBezTo>
                      <a:pt x="199072" y="0"/>
                      <a:pt x="212408" y="240982"/>
                      <a:pt x="952" y="294322"/>
                    </a:cubicBezTo>
                    <a:lnTo>
                      <a:pt x="0" y="23907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 191"/>
              <p:cNvSpPr/>
              <p:nvPr/>
            </p:nvSpPr>
            <p:spPr>
              <a:xfrm>
                <a:off x="3216962" y="326204"/>
                <a:ext cx="488947" cy="660283"/>
              </a:xfrm>
              <a:custGeom>
                <a:avLst/>
                <a:gdLst>
                  <a:gd name="connsiteX0" fmla="*/ 230135 w 488947"/>
                  <a:gd name="connsiteY0" fmla="*/ 659633 h 660283"/>
                  <a:gd name="connsiteX1" fmla="*/ 462545 w 488947"/>
                  <a:gd name="connsiteY1" fmla="*/ 491993 h 660283"/>
                  <a:gd name="connsiteX2" fmla="*/ 379677 w 488947"/>
                  <a:gd name="connsiteY2" fmla="*/ 37650 h 660283"/>
                  <a:gd name="connsiteX3" fmla="*/ 20585 w 488947"/>
                  <a:gd name="connsiteY3" fmla="*/ 155760 h 660283"/>
                  <a:gd name="connsiteX4" fmla="*/ 230135 w 488947"/>
                  <a:gd name="connsiteY4" fmla="*/ 659633 h 660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8947" h="660283">
                    <a:moveTo>
                      <a:pt x="230135" y="659633"/>
                    </a:moveTo>
                    <a:cubicBezTo>
                      <a:pt x="334910" y="652013"/>
                      <a:pt x="423492" y="617723"/>
                      <a:pt x="462545" y="491993"/>
                    </a:cubicBezTo>
                    <a:cubicBezTo>
                      <a:pt x="501597" y="366263"/>
                      <a:pt x="513980" y="130043"/>
                      <a:pt x="379677" y="37650"/>
                    </a:cubicBezTo>
                    <a:cubicBezTo>
                      <a:pt x="246327" y="-54742"/>
                      <a:pt x="57732" y="37650"/>
                      <a:pt x="20585" y="155760"/>
                    </a:cubicBezTo>
                    <a:cubicBezTo>
                      <a:pt x="-15610" y="273870"/>
                      <a:pt x="-33708" y="678683"/>
                      <a:pt x="230135" y="659633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 192"/>
              <p:cNvSpPr/>
              <p:nvPr/>
            </p:nvSpPr>
            <p:spPr>
              <a:xfrm>
                <a:off x="3871574" y="708915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 193"/>
              <p:cNvSpPr/>
              <p:nvPr/>
            </p:nvSpPr>
            <p:spPr>
              <a:xfrm>
                <a:off x="3242924" y="1171830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4118451" y="4450079"/>
              <a:ext cx="707707" cy="256222"/>
              <a:chOff x="4083366" y="2517457"/>
              <a:chExt cx="707707" cy="256222"/>
            </a:xfrm>
          </p:grpSpPr>
          <p:sp>
            <p:nvSpPr>
              <p:cNvPr id="52" name="任意多边形 196"/>
              <p:cNvSpPr/>
              <p:nvPr/>
            </p:nvSpPr>
            <p:spPr>
              <a:xfrm>
                <a:off x="4195762" y="2517457"/>
                <a:ext cx="510540" cy="255270"/>
              </a:xfrm>
              <a:custGeom>
                <a:avLst/>
                <a:gdLst>
                  <a:gd name="connsiteX0" fmla="*/ 255270 w 510540"/>
                  <a:gd name="connsiteY0" fmla="*/ 0 h 255270"/>
                  <a:gd name="connsiteX1" fmla="*/ 0 w 510540"/>
                  <a:gd name="connsiteY1" fmla="*/ 255270 h 255270"/>
                  <a:gd name="connsiteX2" fmla="*/ 510540 w 510540"/>
                  <a:gd name="connsiteY2" fmla="*/ 255270 h 255270"/>
                  <a:gd name="connsiteX3" fmla="*/ 255270 w 510540"/>
                  <a:gd name="connsiteY3" fmla="*/ 0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0540" h="255270">
                    <a:moveTo>
                      <a:pt x="255270" y="0"/>
                    </a:moveTo>
                    <a:cubicBezTo>
                      <a:pt x="114300" y="0"/>
                      <a:pt x="0" y="114300"/>
                      <a:pt x="0" y="255270"/>
                    </a:cubicBezTo>
                    <a:lnTo>
                      <a:pt x="510540" y="255270"/>
                    </a:lnTo>
                    <a:cubicBezTo>
                      <a:pt x="510540" y="114300"/>
                      <a:pt x="396240" y="0"/>
                      <a:pt x="255270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 197"/>
              <p:cNvSpPr/>
              <p:nvPr/>
            </p:nvSpPr>
            <p:spPr>
              <a:xfrm>
                <a:off x="4083366" y="2619375"/>
                <a:ext cx="307657" cy="154305"/>
              </a:xfrm>
              <a:custGeom>
                <a:avLst/>
                <a:gdLst>
                  <a:gd name="connsiteX0" fmla="*/ 154305 w 307657"/>
                  <a:gd name="connsiteY0" fmla="*/ 0 h 154305"/>
                  <a:gd name="connsiteX1" fmla="*/ 0 w 307657"/>
                  <a:gd name="connsiteY1" fmla="*/ 154305 h 154305"/>
                  <a:gd name="connsiteX2" fmla="*/ 307658 w 307657"/>
                  <a:gd name="connsiteY2" fmla="*/ 154305 h 154305"/>
                  <a:gd name="connsiteX3" fmla="*/ 154305 w 307657"/>
                  <a:gd name="connsiteY3" fmla="*/ 0 h 154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7657" h="154305">
                    <a:moveTo>
                      <a:pt x="154305" y="0"/>
                    </a:moveTo>
                    <a:cubicBezTo>
                      <a:pt x="69533" y="0"/>
                      <a:pt x="0" y="68580"/>
                      <a:pt x="0" y="154305"/>
                    </a:cubicBezTo>
                    <a:lnTo>
                      <a:pt x="307658" y="154305"/>
                    </a:lnTo>
                    <a:cubicBezTo>
                      <a:pt x="307658" y="68580"/>
                      <a:pt x="239078" y="0"/>
                      <a:pt x="15430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 198"/>
              <p:cNvSpPr/>
              <p:nvPr/>
            </p:nvSpPr>
            <p:spPr>
              <a:xfrm>
                <a:off x="4277677" y="2664142"/>
                <a:ext cx="217169" cy="108584"/>
              </a:xfrm>
              <a:custGeom>
                <a:avLst/>
                <a:gdLst>
                  <a:gd name="connsiteX0" fmla="*/ 108585 w 217169"/>
                  <a:gd name="connsiteY0" fmla="*/ 0 h 108584"/>
                  <a:gd name="connsiteX1" fmla="*/ 0 w 217169"/>
                  <a:gd name="connsiteY1" fmla="*/ 108585 h 108584"/>
                  <a:gd name="connsiteX2" fmla="*/ 217170 w 217169"/>
                  <a:gd name="connsiteY2" fmla="*/ 108585 h 108584"/>
                  <a:gd name="connsiteX3" fmla="*/ 108585 w 217169"/>
                  <a:gd name="connsiteY3" fmla="*/ 0 h 108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7169" h="108584">
                    <a:moveTo>
                      <a:pt x="108585" y="0"/>
                    </a:moveTo>
                    <a:cubicBezTo>
                      <a:pt x="48577" y="0"/>
                      <a:pt x="0" y="48577"/>
                      <a:pt x="0" y="108585"/>
                    </a:cubicBezTo>
                    <a:lnTo>
                      <a:pt x="217170" y="108585"/>
                    </a:lnTo>
                    <a:cubicBezTo>
                      <a:pt x="217170" y="48577"/>
                      <a:pt x="168592" y="0"/>
                      <a:pt x="10858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 199"/>
              <p:cNvSpPr/>
              <p:nvPr/>
            </p:nvSpPr>
            <p:spPr>
              <a:xfrm>
                <a:off x="4589144" y="2671762"/>
                <a:ext cx="201929" cy="100965"/>
              </a:xfrm>
              <a:custGeom>
                <a:avLst/>
                <a:gdLst>
                  <a:gd name="connsiteX0" fmla="*/ 100965 w 201929"/>
                  <a:gd name="connsiteY0" fmla="*/ 0 h 100965"/>
                  <a:gd name="connsiteX1" fmla="*/ 0 w 201929"/>
                  <a:gd name="connsiteY1" fmla="*/ 100965 h 100965"/>
                  <a:gd name="connsiteX2" fmla="*/ 201930 w 201929"/>
                  <a:gd name="connsiteY2" fmla="*/ 100965 h 100965"/>
                  <a:gd name="connsiteX3" fmla="*/ 100965 w 201929"/>
                  <a:gd name="connsiteY3" fmla="*/ 0 h 100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1929" h="100965">
                    <a:moveTo>
                      <a:pt x="100965" y="0"/>
                    </a:moveTo>
                    <a:cubicBezTo>
                      <a:pt x="45720" y="0"/>
                      <a:pt x="0" y="44768"/>
                      <a:pt x="0" y="100965"/>
                    </a:cubicBezTo>
                    <a:lnTo>
                      <a:pt x="201930" y="100965"/>
                    </a:lnTo>
                    <a:cubicBezTo>
                      <a:pt x="201930" y="45720"/>
                      <a:pt x="157163" y="0"/>
                      <a:pt x="100965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7536022" y="4531994"/>
              <a:ext cx="482917" cy="174307"/>
              <a:chOff x="7500937" y="2599372"/>
              <a:chExt cx="482917" cy="174307"/>
            </a:xfrm>
          </p:grpSpPr>
          <p:sp>
            <p:nvSpPr>
              <p:cNvPr id="48" name="任意多边形 201"/>
              <p:cNvSpPr/>
              <p:nvPr/>
            </p:nvSpPr>
            <p:spPr>
              <a:xfrm>
                <a:off x="7578089" y="2599372"/>
                <a:ext cx="347662" cy="174307"/>
              </a:xfrm>
              <a:custGeom>
                <a:avLst/>
                <a:gdLst>
                  <a:gd name="connsiteX0" fmla="*/ 174308 w 347662"/>
                  <a:gd name="connsiteY0" fmla="*/ 0 h 174307"/>
                  <a:gd name="connsiteX1" fmla="*/ 0 w 347662"/>
                  <a:gd name="connsiteY1" fmla="*/ 174308 h 174307"/>
                  <a:gd name="connsiteX2" fmla="*/ 347662 w 347662"/>
                  <a:gd name="connsiteY2" fmla="*/ 174308 h 174307"/>
                  <a:gd name="connsiteX3" fmla="*/ 174308 w 347662"/>
                  <a:gd name="connsiteY3" fmla="*/ 0 h 17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7662" h="174307">
                    <a:moveTo>
                      <a:pt x="174308" y="0"/>
                    </a:moveTo>
                    <a:cubicBezTo>
                      <a:pt x="78105" y="0"/>
                      <a:pt x="0" y="78105"/>
                      <a:pt x="0" y="174308"/>
                    </a:cubicBezTo>
                    <a:lnTo>
                      <a:pt x="347662" y="174308"/>
                    </a:lnTo>
                    <a:cubicBezTo>
                      <a:pt x="347662" y="77153"/>
                      <a:pt x="269558" y="0"/>
                      <a:pt x="174308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 202"/>
              <p:cNvSpPr/>
              <p:nvPr/>
            </p:nvSpPr>
            <p:spPr>
              <a:xfrm>
                <a:off x="7500937" y="2667952"/>
                <a:ext cx="209550" cy="104775"/>
              </a:xfrm>
              <a:custGeom>
                <a:avLst/>
                <a:gdLst>
                  <a:gd name="connsiteX0" fmla="*/ 104775 w 209550"/>
                  <a:gd name="connsiteY0" fmla="*/ 0 h 104775"/>
                  <a:gd name="connsiteX1" fmla="*/ 0 w 209550"/>
                  <a:gd name="connsiteY1" fmla="*/ 104775 h 104775"/>
                  <a:gd name="connsiteX2" fmla="*/ 209550 w 209550"/>
                  <a:gd name="connsiteY2" fmla="*/ 104775 h 104775"/>
                  <a:gd name="connsiteX3" fmla="*/ 104775 w 209550"/>
                  <a:gd name="connsiteY3" fmla="*/ 0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50" h="104775">
                    <a:moveTo>
                      <a:pt x="104775" y="0"/>
                    </a:moveTo>
                    <a:cubicBezTo>
                      <a:pt x="46672" y="0"/>
                      <a:pt x="0" y="46672"/>
                      <a:pt x="0" y="104775"/>
                    </a:cubicBezTo>
                    <a:lnTo>
                      <a:pt x="209550" y="104775"/>
                    </a:lnTo>
                    <a:cubicBezTo>
                      <a:pt x="209550" y="47625"/>
                      <a:pt x="162877" y="0"/>
                      <a:pt x="10477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 203"/>
              <p:cNvSpPr/>
              <p:nvPr/>
            </p:nvSpPr>
            <p:spPr>
              <a:xfrm>
                <a:off x="7633334" y="2699384"/>
                <a:ext cx="147637" cy="74295"/>
              </a:xfrm>
              <a:custGeom>
                <a:avLst/>
                <a:gdLst>
                  <a:gd name="connsiteX0" fmla="*/ 74295 w 147637"/>
                  <a:gd name="connsiteY0" fmla="*/ 0 h 74295"/>
                  <a:gd name="connsiteX1" fmla="*/ 0 w 147637"/>
                  <a:gd name="connsiteY1" fmla="*/ 74295 h 74295"/>
                  <a:gd name="connsiteX2" fmla="*/ 147638 w 147637"/>
                  <a:gd name="connsiteY2" fmla="*/ 74295 h 74295"/>
                  <a:gd name="connsiteX3" fmla="*/ 74295 w 147637"/>
                  <a:gd name="connsiteY3" fmla="*/ 0 h 74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7637" h="74295">
                    <a:moveTo>
                      <a:pt x="74295" y="0"/>
                    </a:moveTo>
                    <a:cubicBezTo>
                      <a:pt x="33338" y="0"/>
                      <a:pt x="0" y="33338"/>
                      <a:pt x="0" y="74295"/>
                    </a:cubicBezTo>
                    <a:lnTo>
                      <a:pt x="147638" y="74295"/>
                    </a:lnTo>
                    <a:cubicBezTo>
                      <a:pt x="147638" y="32385"/>
                      <a:pt x="115252" y="0"/>
                      <a:pt x="7429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 204"/>
              <p:cNvSpPr/>
              <p:nvPr/>
            </p:nvSpPr>
            <p:spPr>
              <a:xfrm>
                <a:off x="7846694" y="2704147"/>
                <a:ext cx="137160" cy="68580"/>
              </a:xfrm>
              <a:custGeom>
                <a:avLst/>
                <a:gdLst>
                  <a:gd name="connsiteX0" fmla="*/ 68580 w 137160"/>
                  <a:gd name="connsiteY0" fmla="*/ 0 h 68580"/>
                  <a:gd name="connsiteX1" fmla="*/ 0 w 137160"/>
                  <a:gd name="connsiteY1" fmla="*/ 68580 h 68580"/>
                  <a:gd name="connsiteX2" fmla="*/ 137160 w 137160"/>
                  <a:gd name="connsiteY2" fmla="*/ 68580 h 68580"/>
                  <a:gd name="connsiteX3" fmla="*/ 68580 w 137160"/>
                  <a:gd name="connsiteY3" fmla="*/ 0 h 68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160" h="68580">
                    <a:moveTo>
                      <a:pt x="68580" y="0"/>
                    </a:moveTo>
                    <a:cubicBezTo>
                      <a:pt x="30480" y="0"/>
                      <a:pt x="0" y="30480"/>
                      <a:pt x="0" y="68580"/>
                    </a:cubicBezTo>
                    <a:lnTo>
                      <a:pt x="137160" y="68580"/>
                    </a:lnTo>
                    <a:cubicBezTo>
                      <a:pt x="137160" y="30480"/>
                      <a:pt x="105728" y="0"/>
                      <a:pt x="6858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4761389" y="3611879"/>
              <a:ext cx="647700" cy="1093470"/>
              <a:chOff x="4726304" y="1679257"/>
              <a:chExt cx="647700" cy="1093470"/>
            </a:xfrm>
          </p:grpSpPr>
          <p:sp>
            <p:nvSpPr>
              <p:cNvPr id="44" name="任意多边形 207"/>
              <p:cNvSpPr/>
              <p:nvPr/>
            </p:nvSpPr>
            <p:spPr>
              <a:xfrm>
                <a:off x="5007291" y="2360295"/>
                <a:ext cx="85725" cy="412432"/>
              </a:xfrm>
              <a:custGeom>
                <a:avLst/>
                <a:gdLst>
                  <a:gd name="connsiteX0" fmla="*/ 0 w 85725"/>
                  <a:gd name="connsiteY0" fmla="*/ 412433 h 412432"/>
                  <a:gd name="connsiteX1" fmla="*/ 85725 w 85725"/>
                  <a:gd name="connsiteY1" fmla="*/ 412433 h 412432"/>
                  <a:gd name="connsiteX2" fmla="*/ 75248 w 85725"/>
                  <a:gd name="connsiteY2" fmla="*/ 0 h 412432"/>
                  <a:gd name="connsiteX3" fmla="*/ 15240 w 85725"/>
                  <a:gd name="connsiteY3" fmla="*/ 0 h 412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5" h="412432">
                    <a:moveTo>
                      <a:pt x="0" y="412433"/>
                    </a:moveTo>
                    <a:lnTo>
                      <a:pt x="85725" y="412433"/>
                    </a:lnTo>
                    <a:lnTo>
                      <a:pt x="75248" y="0"/>
                    </a:lnTo>
                    <a:lnTo>
                      <a:pt x="1524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 208"/>
              <p:cNvSpPr/>
              <p:nvPr/>
            </p:nvSpPr>
            <p:spPr>
              <a:xfrm>
                <a:off x="5028246" y="2368867"/>
                <a:ext cx="172031" cy="227647"/>
              </a:xfrm>
              <a:custGeom>
                <a:avLst/>
                <a:gdLst>
                  <a:gd name="connsiteX0" fmla="*/ 953 w 172031"/>
                  <a:gd name="connsiteY0" fmla="*/ 180023 h 227647"/>
                  <a:gd name="connsiteX1" fmla="*/ 125730 w 172031"/>
                  <a:gd name="connsiteY1" fmla="*/ 0 h 227647"/>
                  <a:gd name="connsiteX2" fmla="*/ 170497 w 172031"/>
                  <a:gd name="connsiteY2" fmla="*/ 7620 h 227647"/>
                  <a:gd name="connsiteX3" fmla="*/ 0 w 172031"/>
                  <a:gd name="connsiteY3" fmla="*/ 227648 h 227647"/>
                  <a:gd name="connsiteX4" fmla="*/ 953 w 172031"/>
                  <a:gd name="connsiteY4" fmla="*/ 180023 h 227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2031" h="227647">
                    <a:moveTo>
                      <a:pt x="953" y="180023"/>
                    </a:moveTo>
                    <a:cubicBezTo>
                      <a:pt x="953" y="180023"/>
                      <a:pt x="172403" y="161925"/>
                      <a:pt x="125730" y="0"/>
                    </a:cubicBezTo>
                    <a:lnTo>
                      <a:pt x="170497" y="7620"/>
                    </a:lnTo>
                    <a:cubicBezTo>
                      <a:pt x="170497" y="7620"/>
                      <a:pt x="200025" y="164783"/>
                      <a:pt x="0" y="227648"/>
                    </a:cubicBezTo>
                    <a:lnTo>
                      <a:pt x="953" y="180023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 209"/>
              <p:cNvSpPr/>
              <p:nvPr/>
            </p:nvSpPr>
            <p:spPr>
              <a:xfrm>
                <a:off x="4907258" y="2329815"/>
                <a:ext cx="142896" cy="184784"/>
              </a:xfrm>
              <a:custGeom>
                <a:avLst/>
                <a:gdLst>
                  <a:gd name="connsiteX0" fmla="*/ 36216 w 142896"/>
                  <a:gd name="connsiteY0" fmla="*/ 12382 h 184784"/>
                  <a:gd name="connsiteX1" fmla="*/ 142896 w 142896"/>
                  <a:gd name="connsiteY1" fmla="*/ 152400 h 184784"/>
                  <a:gd name="connsiteX2" fmla="*/ 125751 w 142896"/>
                  <a:gd name="connsiteY2" fmla="*/ 184785 h 184784"/>
                  <a:gd name="connsiteX3" fmla="*/ 21 w 142896"/>
                  <a:gd name="connsiteY3" fmla="*/ 0 h 184784"/>
                  <a:gd name="connsiteX4" fmla="*/ 36216 w 142896"/>
                  <a:gd name="connsiteY4" fmla="*/ 12382 h 184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896" h="184784">
                    <a:moveTo>
                      <a:pt x="36216" y="12382"/>
                    </a:moveTo>
                    <a:cubicBezTo>
                      <a:pt x="36216" y="12382"/>
                      <a:pt x="7641" y="148590"/>
                      <a:pt x="142896" y="152400"/>
                    </a:cubicBezTo>
                    <a:lnTo>
                      <a:pt x="125751" y="184785"/>
                    </a:lnTo>
                    <a:cubicBezTo>
                      <a:pt x="125751" y="184785"/>
                      <a:pt x="-1884" y="168592"/>
                      <a:pt x="21" y="0"/>
                    </a:cubicBezTo>
                    <a:lnTo>
                      <a:pt x="36216" y="12382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 210"/>
              <p:cNvSpPr/>
              <p:nvPr/>
            </p:nvSpPr>
            <p:spPr>
              <a:xfrm>
                <a:off x="4726304" y="1679257"/>
                <a:ext cx="647700" cy="770572"/>
              </a:xfrm>
              <a:custGeom>
                <a:avLst/>
                <a:gdLst>
                  <a:gd name="connsiteX0" fmla="*/ 647700 w 647700"/>
                  <a:gd name="connsiteY0" fmla="*/ 425767 h 770572"/>
                  <a:gd name="connsiteX1" fmla="*/ 323850 w 647700"/>
                  <a:gd name="connsiteY1" fmla="*/ 770572 h 770572"/>
                  <a:gd name="connsiteX2" fmla="*/ 0 w 647700"/>
                  <a:gd name="connsiteY2" fmla="*/ 425767 h 770572"/>
                  <a:gd name="connsiteX3" fmla="*/ 323850 w 647700"/>
                  <a:gd name="connsiteY3" fmla="*/ 0 h 770572"/>
                  <a:gd name="connsiteX4" fmla="*/ 647700 w 647700"/>
                  <a:gd name="connsiteY4" fmla="*/ 425767 h 770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7700" h="770572">
                    <a:moveTo>
                      <a:pt x="647700" y="425767"/>
                    </a:moveTo>
                    <a:cubicBezTo>
                      <a:pt x="647700" y="661035"/>
                      <a:pt x="502920" y="770572"/>
                      <a:pt x="323850" y="770572"/>
                    </a:cubicBezTo>
                    <a:cubicBezTo>
                      <a:pt x="144780" y="770572"/>
                      <a:pt x="0" y="661988"/>
                      <a:pt x="0" y="425767"/>
                    </a:cubicBezTo>
                    <a:cubicBezTo>
                      <a:pt x="0" y="190500"/>
                      <a:pt x="144780" y="0"/>
                      <a:pt x="323850" y="0"/>
                    </a:cubicBezTo>
                    <a:cubicBezTo>
                      <a:pt x="502920" y="0"/>
                      <a:pt x="647700" y="190500"/>
                      <a:pt x="647700" y="425767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" name="组合 11"/>
            <p:cNvGrpSpPr/>
            <p:nvPr/>
          </p:nvGrpSpPr>
          <p:grpSpPr>
            <a:xfrm>
              <a:off x="6647339" y="4319587"/>
              <a:ext cx="757237" cy="386715"/>
              <a:chOff x="6612254" y="2386965"/>
              <a:chExt cx="757237" cy="386715"/>
            </a:xfrm>
          </p:grpSpPr>
          <p:sp>
            <p:nvSpPr>
              <p:cNvPr id="40" name="任意多边形 213"/>
              <p:cNvSpPr/>
              <p:nvPr/>
            </p:nvSpPr>
            <p:spPr>
              <a:xfrm>
                <a:off x="6612254" y="2611754"/>
                <a:ext cx="181927" cy="160972"/>
              </a:xfrm>
              <a:custGeom>
                <a:avLst/>
                <a:gdLst>
                  <a:gd name="connsiteX0" fmla="*/ 181927 w 181927"/>
                  <a:gd name="connsiteY0" fmla="*/ 18098 h 160972"/>
                  <a:gd name="connsiteX1" fmla="*/ 178117 w 181927"/>
                  <a:gd name="connsiteY1" fmla="*/ 4763 h 160972"/>
                  <a:gd name="connsiteX2" fmla="*/ 147638 w 181927"/>
                  <a:gd name="connsiteY2" fmla="*/ 0 h 160972"/>
                  <a:gd name="connsiteX3" fmla="*/ 0 w 181927"/>
                  <a:gd name="connsiteY3" fmla="*/ 160973 h 160972"/>
                  <a:gd name="connsiteX4" fmla="*/ 87630 w 181927"/>
                  <a:gd name="connsiteY4" fmla="*/ 160973 h 160972"/>
                  <a:gd name="connsiteX5" fmla="*/ 181927 w 181927"/>
                  <a:gd name="connsiteY5" fmla="*/ 18098 h 160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1927" h="160972">
                    <a:moveTo>
                      <a:pt x="181927" y="18098"/>
                    </a:moveTo>
                    <a:cubicBezTo>
                      <a:pt x="180975" y="14288"/>
                      <a:pt x="179070" y="9525"/>
                      <a:pt x="178117" y="4763"/>
                    </a:cubicBezTo>
                    <a:cubicBezTo>
                      <a:pt x="168592" y="1905"/>
                      <a:pt x="158115" y="0"/>
                      <a:pt x="147638" y="0"/>
                    </a:cubicBezTo>
                    <a:cubicBezTo>
                      <a:pt x="79057" y="0"/>
                      <a:pt x="20002" y="67627"/>
                      <a:pt x="0" y="160973"/>
                    </a:cubicBezTo>
                    <a:lnTo>
                      <a:pt x="87630" y="160973"/>
                    </a:lnTo>
                    <a:cubicBezTo>
                      <a:pt x="112395" y="103823"/>
                      <a:pt x="144780" y="55245"/>
                      <a:pt x="181927" y="180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 214"/>
              <p:cNvSpPr/>
              <p:nvPr/>
            </p:nvSpPr>
            <p:spPr>
              <a:xfrm>
                <a:off x="6781799" y="2386965"/>
                <a:ext cx="313372" cy="340994"/>
              </a:xfrm>
              <a:custGeom>
                <a:avLst/>
                <a:gdLst>
                  <a:gd name="connsiteX0" fmla="*/ 170497 w 313372"/>
                  <a:gd name="connsiteY0" fmla="*/ 262890 h 340994"/>
                  <a:gd name="connsiteX1" fmla="*/ 313372 w 313372"/>
                  <a:gd name="connsiteY1" fmla="*/ 131445 h 340994"/>
                  <a:gd name="connsiteX2" fmla="*/ 166688 w 313372"/>
                  <a:gd name="connsiteY2" fmla="*/ 0 h 340994"/>
                  <a:gd name="connsiteX3" fmla="*/ 0 w 313372"/>
                  <a:gd name="connsiteY3" fmla="*/ 250507 h 340994"/>
                  <a:gd name="connsiteX4" fmla="*/ 9525 w 313372"/>
                  <a:gd name="connsiteY4" fmla="*/ 327660 h 340994"/>
                  <a:gd name="connsiteX5" fmla="*/ 13335 w 313372"/>
                  <a:gd name="connsiteY5" fmla="*/ 340995 h 340994"/>
                  <a:gd name="connsiteX6" fmla="*/ 170497 w 313372"/>
                  <a:gd name="connsiteY6" fmla="*/ 262890 h 340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3372" h="340994">
                    <a:moveTo>
                      <a:pt x="170497" y="262890"/>
                    </a:moveTo>
                    <a:cubicBezTo>
                      <a:pt x="204788" y="195263"/>
                      <a:pt x="255270" y="147638"/>
                      <a:pt x="313372" y="131445"/>
                    </a:cubicBezTo>
                    <a:cubicBezTo>
                      <a:pt x="284797" y="53340"/>
                      <a:pt x="230505" y="0"/>
                      <a:pt x="166688" y="0"/>
                    </a:cubicBezTo>
                    <a:cubicBezTo>
                      <a:pt x="74295" y="0"/>
                      <a:pt x="0" y="112395"/>
                      <a:pt x="0" y="250507"/>
                    </a:cubicBezTo>
                    <a:cubicBezTo>
                      <a:pt x="0" y="279082"/>
                      <a:pt x="2857" y="304800"/>
                      <a:pt x="9525" y="327660"/>
                    </a:cubicBezTo>
                    <a:cubicBezTo>
                      <a:pt x="10478" y="332422"/>
                      <a:pt x="12382" y="336232"/>
                      <a:pt x="13335" y="340995"/>
                    </a:cubicBezTo>
                    <a:cubicBezTo>
                      <a:pt x="58103" y="295275"/>
                      <a:pt x="112395" y="267652"/>
                      <a:pt x="170497" y="262890"/>
                    </a:cubicBezTo>
                    <a:close/>
                  </a:path>
                </a:pathLst>
              </a:custGeom>
              <a:solidFill>
                <a:srgbClr val="3BA24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 215"/>
              <p:cNvSpPr/>
              <p:nvPr/>
            </p:nvSpPr>
            <p:spPr>
              <a:xfrm>
                <a:off x="6952296" y="2413634"/>
                <a:ext cx="417195" cy="359092"/>
              </a:xfrm>
              <a:custGeom>
                <a:avLst/>
                <a:gdLst>
                  <a:gd name="connsiteX0" fmla="*/ 0 w 417195"/>
                  <a:gd name="connsiteY0" fmla="*/ 138113 h 359092"/>
                  <a:gd name="connsiteX1" fmla="*/ 18097 w 417195"/>
                  <a:gd name="connsiteY1" fmla="*/ 137160 h 359092"/>
                  <a:gd name="connsiteX2" fmla="*/ 287655 w 417195"/>
                  <a:gd name="connsiteY2" fmla="*/ 359093 h 359092"/>
                  <a:gd name="connsiteX3" fmla="*/ 417195 w 417195"/>
                  <a:gd name="connsiteY3" fmla="*/ 359093 h 359092"/>
                  <a:gd name="connsiteX4" fmla="*/ 417195 w 417195"/>
                  <a:gd name="connsiteY4" fmla="*/ 350520 h 359092"/>
                  <a:gd name="connsiteX5" fmla="*/ 184785 w 417195"/>
                  <a:gd name="connsiteY5" fmla="*/ 0 h 359092"/>
                  <a:gd name="connsiteX6" fmla="*/ 142875 w 417195"/>
                  <a:gd name="connsiteY6" fmla="*/ 5715 h 359092"/>
                  <a:gd name="connsiteX7" fmla="*/ 0 w 417195"/>
                  <a:gd name="connsiteY7" fmla="*/ 138113 h 359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195" h="359092">
                    <a:moveTo>
                      <a:pt x="0" y="138113"/>
                    </a:moveTo>
                    <a:cubicBezTo>
                      <a:pt x="5715" y="137160"/>
                      <a:pt x="11430" y="137160"/>
                      <a:pt x="18097" y="137160"/>
                    </a:cubicBezTo>
                    <a:cubicBezTo>
                      <a:pt x="131445" y="137160"/>
                      <a:pt x="230505" y="225743"/>
                      <a:pt x="287655" y="359093"/>
                    </a:cubicBezTo>
                    <a:lnTo>
                      <a:pt x="417195" y="359093"/>
                    </a:lnTo>
                    <a:cubicBezTo>
                      <a:pt x="417195" y="356235"/>
                      <a:pt x="417195" y="353378"/>
                      <a:pt x="417195" y="350520"/>
                    </a:cubicBezTo>
                    <a:cubicBezTo>
                      <a:pt x="417195" y="157163"/>
                      <a:pt x="313372" y="0"/>
                      <a:pt x="184785" y="0"/>
                    </a:cubicBezTo>
                    <a:cubicBezTo>
                      <a:pt x="170497" y="0"/>
                      <a:pt x="156210" y="1905"/>
                      <a:pt x="142875" y="5715"/>
                    </a:cubicBezTo>
                    <a:cubicBezTo>
                      <a:pt x="84772" y="22860"/>
                      <a:pt x="34290" y="70485"/>
                      <a:pt x="0" y="138113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 216"/>
              <p:cNvSpPr/>
              <p:nvPr/>
            </p:nvSpPr>
            <p:spPr>
              <a:xfrm>
                <a:off x="6699884" y="2550795"/>
                <a:ext cx="540067" cy="222885"/>
              </a:xfrm>
              <a:custGeom>
                <a:avLst/>
                <a:gdLst>
                  <a:gd name="connsiteX0" fmla="*/ 270510 w 540067"/>
                  <a:gd name="connsiteY0" fmla="*/ 0 h 222885"/>
                  <a:gd name="connsiteX1" fmla="*/ 252413 w 540067"/>
                  <a:gd name="connsiteY1" fmla="*/ 952 h 222885"/>
                  <a:gd name="connsiteX2" fmla="*/ 94297 w 540067"/>
                  <a:gd name="connsiteY2" fmla="*/ 79058 h 222885"/>
                  <a:gd name="connsiteX3" fmla="*/ 0 w 540067"/>
                  <a:gd name="connsiteY3" fmla="*/ 222885 h 222885"/>
                  <a:gd name="connsiteX4" fmla="*/ 540068 w 540067"/>
                  <a:gd name="connsiteY4" fmla="*/ 222885 h 222885"/>
                  <a:gd name="connsiteX5" fmla="*/ 270510 w 540067"/>
                  <a:gd name="connsiteY5" fmla="*/ 0 h 222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0067" h="222885">
                    <a:moveTo>
                      <a:pt x="270510" y="0"/>
                    </a:moveTo>
                    <a:cubicBezTo>
                      <a:pt x="264795" y="0"/>
                      <a:pt x="258128" y="0"/>
                      <a:pt x="252413" y="952"/>
                    </a:cubicBezTo>
                    <a:cubicBezTo>
                      <a:pt x="194310" y="5715"/>
                      <a:pt x="140970" y="34290"/>
                      <a:pt x="94297" y="79058"/>
                    </a:cubicBezTo>
                    <a:cubicBezTo>
                      <a:pt x="56197" y="116205"/>
                      <a:pt x="24765" y="164783"/>
                      <a:pt x="0" y="222885"/>
                    </a:cubicBezTo>
                    <a:lnTo>
                      <a:pt x="540068" y="222885"/>
                    </a:lnTo>
                    <a:cubicBezTo>
                      <a:pt x="482918" y="88583"/>
                      <a:pt x="383858" y="0"/>
                      <a:pt x="27051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8914289" y="4138612"/>
              <a:ext cx="578168" cy="567690"/>
              <a:chOff x="8879204" y="2205990"/>
              <a:chExt cx="578168" cy="567690"/>
            </a:xfrm>
          </p:grpSpPr>
          <p:grpSp>
            <p:nvGrpSpPr>
              <p:cNvPr id="28" name="组合 27"/>
              <p:cNvGrpSpPr/>
              <p:nvPr/>
            </p:nvGrpSpPr>
            <p:grpSpPr>
              <a:xfrm>
                <a:off x="8879204" y="2205990"/>
                <a:ext cx="342900" cy="567690"/>
                <a:chOff x="8879204" y="2205990"/>
                <a:chExt cx="342900" cy="567690"/>
              </a:xfrm>
            </p:grpSpPr>
            <p:sp>
              <p:nvSpPr>
                <p:cNvPr id="34" name="任意多边形 220"/>
                <p:cNvSpPr/>
                <p:nvPr/>
              </p:nvSpPr>
              <p:spPr>
                <a:xfrm>
                  <a:off x="9023984" y="2238375"/>
                  <a:ext cx="60007" cy="535305"/>
                </a:xfrm>
                <a:custGeom>
                  <a:avLst/>
                  <a:gdLst>
                    <a:gd name="connsiteX0" fmla="*/ 60007 w 60007"/>
                    <a:gd name="connsiteY0" fmla="*/ 535305 h 535305"/>
                    <a:gd name="connsiteX1" fmla="*/ 0 w 60007"/>
                    <a:gd name="connsiteY1" fmla="*/ 535305 h 535305"/>
                    <a:gd name="connsiteX2" fmla="*/ 20955 w 60007"/>
                    <a:gd name="connsiteY2" fmla="*/ 0 h 535305"/>
                    <a:gd name="connsiteX3" fmla="*/ 39052 w 60007"/>
                    <a:gd name="connsiteY3" fmla="*/ 0 h 535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007" h="535305">
                      <a:moveTo>
                        <a:pt x="60007" y="535305"/>
                      </a:moveTo>
                      <a:lnTo>
                        <a:pt x="0" y="535305"/>
                      </a:lnTo>
                      <a:lnTo>
                        <a:pt x="20955" y="0"/>
                      </a:lnTo>
                      <a:lnTo>
                        <a:pt x="39052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35" name="组合 34"/>
                <p:cNvGrpSpPr/>
                <p:nvPr/>
              </p:nvGrpSpPr>
              <p:grpSpPr>
                <a:xfrm>
                  <a:off x="8879204" y="2205990"/>
                  <a:ext cx="342900" cy="567690"/>
                  <a:chOff x="8879204" y="2205990"/>
                  <a:chExt cx="342900" cy="567690"/>
                </a:xfrm>
              </p:grpSpPr>
              <p:sp>
                <p:nvSpPr>
                  <p:cNvPr id="36" name="任意多边形 222"/>
                  <p:cNvSpPr/>
                  <p:nvPr/>
                </p:nvSpPr>
                <p:spPr>
                  <a:xfrm>
                    <a:off x="8879204" y="2546984"/>
                    <a:ext cx="342900" cy="226695"/>
                  </a:xfrm>
                  <a:custGeom>
                    <a:avLst/>
                    <a:gdLst>
                      <a:gd name="connsiteX0" fmla="*/ 170497 w 342900"/>
                      <a:gd name="connsiteY0" fmla="*/ 0 h 226695"/>
                      <a:gd name="connsiteX1" fmla="*/ 0 w 342900"/>
                      <a:gd name="connsiteY1" fmla="*/ 226695 h 226695"/>
                      <a:gd name="connsiteX2" fmla="*/ 171450 w 342900"/>
                      <a:gd name="connsiteY2" fmla="*/ 226695 h 226695"/>
                      <a:gd name="connsiteX3" fmla="*/ 342900 w 342900"/>
                      <a:gd name="connsiteY3" fmla="*/ 226695 h 2266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42900" h="226695">
                        <a:moveTo>
                          <a:pt x="170497" y="0"/>
                        </a:moveTo>
                        <a:lnTo>
                          <a:pt x="0" y="226695"/>
                        </a:lnTo>
                        <a:lnTo>
                          <a:pt x="171450" y="226695"/>
                        </a:lnTo>
                        <a:lnTo>
                          <a:pt x="342900" y="226695"/>
                        </a:lnTo>
                        <a:close/>
                      </a:path>
                    </a:pathLst>
                  </a:custGeom>
                  <a:solidFill>
                    <a:srgbClr val="006738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7" name="任意多边形 223"/>
                  <p:cNvSpPr/>
                  <p:nvPr/>
                </p:nvSpPr>
                <p:spPr>
                  <a:xfrm>
                    <a:off x="8893492" y="2415540"/>
                    <a:ext cx="313372" cy="191452"/>
                  </a:xfrm>
                  <a:custGeom>
                    <a:avLst/>
                    <a:gdLst>
                      <a:gd name="connsiteX0" fmla="*/ 155257 w 313372"/>
                      <a:gd name="connsiteY0" fmla="*/ 0 h 191452"/>
                      <a:gd name="connsiteX1" fmla="*/ 0 w 313372"/>
                      <a:gd name="connsiteY1" fmla="*/ 191452 h 191452"/>
                      <a:gd name="connsiteX2" fmla="*/ 156210 w 313372"/>
                      <a:gd name="connsiteY2" fmla="*/ 191452 h 191452"/>
                      <a:gd name="connsiteX3" fmla="*/ 313372 w 313372"/>
                      <a:gd name="connsiteY3" fmla="*/ 191452 h 1914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13372" h="191452">
                        <a:moveTo>
                          <a:pt x="155257" y="0"/>
                        </a:moveTo>
                        <a:lnTo>
                          <a:pt x="0" y="191452"/>
                        </a:lnTo>
                        <a:lnTo>
                          <a:pt x="156210" y="191452"/>
                        </a:lnTo>
                        <a:lnTo>
                          <a:pt x="313372" y="191452"/>
                        </a:lnTo>
                        <a:close/>
                      </a:path>
                    </a:pathLst>
                  </a:custGeom>
                  <a:solidFill>
                    <a:srgbClr val="029344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8" name="任意多边形 224"/>
                  <p:cNvSpPr/>
                  <p:nvPr/>
                </p:nvSpPr>
                <p:spPr>
                  <a:xfrm>
                    <a:off x="8904922" y="2303145"/>
                    <a:ext cx="288607" cy="163829"/>
                  </a:xfrm>
                  <a:custGeom>
                    <a:avLst/>
                    <a:gdLst>
                      <a:gd name="connsiteX0" fmla="*/ 143827 w 288607"/>
                      <a:gd name="connsiteY0" fmla="*/ 0 h 163829"/>
                      <a:gd name="connsiteX1" fmla="*/ 0 w 288607"/>
                      <a:gd name="connsiteY1" fmla="*/ 163830 h 163829"/>
                      <a:gd name="connsiteX2" fmla="*/ 144780 w 288607"/>
                      <a:gd name="connsiteY2" fmla="*/ 163830 h 163829"/>
                      <a:gd name="connsiteX3" fmla="*/ 288607 w 288607"/>
                      <a:gd name="connsiteY3" fmla="*/ 163830 h 1638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88607" h="163829">
                        <a:moveTo>
                          <a:pt x="143827" y="0"/>
                        </a:moveTo>
                        <a:lnTo>
                          <a:pt x="0" y="163830"/>
                        </a:lnTo>
                        <a:lnTo>
                          <a:pt x="144780" y="163830"/>
                        </a:lnTo>
                        <a:lnTo>
                          <a:pt x="288607" y="163830"/>
                        </a:lnTo>
                        <a:close/>
                      </a:path>
                    </a:pathLst>
                  </a:custGeom>
                  <a:solidFill>
                    <a:srgbClr val="6EB13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9" name="任意多边形 225"/>
                  <p:cNvSpPr/>
                  <p:nvPr/>
                </p:nvSpPr>
                <p:spPr>
                  <a:xfrm>
                    <a:off x="8915399" y="2205990"/>
                    <a:ext cx="266700" cy="140969"/>
                  </a:xfrm>
                  <a:custGeom>
                    <a:avLst/>
                    <a:gdLst>
                      <a:gd name="connsiteX0" fmla="*/ 132398 w 266700"/>
                      <a:gd name="connsiteY0" fmla="*/ 0 h 140969"/>
                      <a:gd name="connsiteX1" fmla="*/ 0 w 266700"/>
                      <a:gd name="connsiteY1" fmla="*/ 140970 h 140969"/>
                      <a:gd name="connsiteX2" fmla="*/ 133350 w 266700"/>
                      <a:gd name="connsiteY2" fmla="*/ 140970 h 140969"/>
                      <a:gd name="connsiteX3" fmla="*/ 266700 w 266700"/>
                      <a:gd name="connsiteY3" fmla="*/ 140970 h 1409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66700" h="140969">
                        <a:moveTo>
                          <a:pt x="132398" y="0"/>
                        </a:moveTo>
                        <a:lnTo>
                          <a:pt x="0" y="140970"/>
                        </a:lnTo>
                        <a:lnTo>
                          <a:pt x="133350" y="140970"/>
                        </a:lnTo>
                        <a:lnTo>
                          <a:pt x="266700" y="140970"/>
                        </a:lnTo>
                        <a:close/>
                      </a:path>
                    </a:pathLst>
                  </a:custGeom>
                  <a:solidFill>
                    <a:srgbClr val="92C33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29" name="组合 28"/>
              <p:cNvGrpSpPr/>
              <p:nvPr/>
            </p:nvGrpSpPr>
            <p:grpSpPr>
              <a:xfrm>
                <a:off x="9019222" y="2615565"/>
                <a:ext cx="438150" cy="158115"/>
                <a:chOff x="9019222" y="2615565"/>
                <a:chExt cx="438150" cy="158115"/>
              </a:xfrm>
            </p:grpSpPr>
            <p:sp>
              <p:nvSpPr>
                <p:cNvPr id="30" name="任意多边形 228"/>
                <p:cNvSpPr/>
                <p:nvPr/>
              </p:nvSpPr>
              <p:spPr>
                <a:xfrm>
                  <a:off x="9088754" y="2615565"/>
                  <a:ext cx="317182" cy="158115"/>
                </a:xfrm>
                <a:custGeom>
                  <a:avLst/>
                  <a:gdLst>
                    <a:gd name="connsiteX0" fmla="*/ 158115 w 317182"/>
                    <a:gd name="connsiteY0" fmla="*/ 0 h 158115"/>
                    <a:gd name="connsiteX1" fmla="*/ 0 w 317182"/>
                    <a:gd name="connsiteY1" fmla="*/ 158115 h 158115"/>
                    <a:gd name="connsiteX2" fmla="*/ 317182 w 317182"/>
                    <a:gd name="connsiteY2" fmla="*/ 158115 h 158115"/>
                    <a:gd name="connsiteX3" fmla="*/ 158115 w 317182"/>
                    <a:gd name="connsiteY3" fmla="*/ 0 h 1581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7182" h="158115">
                      <a:moveTo>
                        <a:pt x="158115" y="0"/>
                      </a:moveTo>
                      <a:cubicBezTo>
                        <a:pt x="70485" y="0"/>
                        <a:pt x="0" y="70485"/>
                        <a:pt x="0" y="158115"/>
                      </a:cubicBezTo>
                      <a:lnTo>
                        <a:pt x="317182" y="158115"/>
                      </a:lnTo>
                      <a:cubicBezTo>
                        <a:pt x="317182" y="70485"/>
                        <a:pt x="245745" y="0"/>
                        <a:pt x="158115" y="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1" name="任意多边形 229"/>
                <p:cNvSpPr/>
                <p:nvPr/>
              </p:nvSpPr>
              <p:spPr>
                <a:xfrm>
                  <a:off x="9019222" y="2677477"/>
                  <a:ext cx="190500" cy="95250"/>
                </a:xfrm>
                <a:custGeom>
                  <a:avLst/>
                  <a:gdLst>
                    <a:gd name="connsiteX0" fmla="*/ 95250 w 190500"/>
                    <a:gd name="connsiteY0" fmla="*/ 0 h 95250"/>
                    <a:gd name="connsiteX1" fmla="*/ 0 w 190500"/>
                    <a:gd name="connsiteY1" fmla="*/ 95250 h 95250"/>
                    <a:gd name="connsiteX2" fmla="*/ 190500 w 190500"/>
                    <a:gd name="connsiteY2" fmla="*/ 95250 h 95250"/>
                    <a:gd name="connsiteX3" fmla="*/ 95250 w 190500"/>
                    <a:gd name="connsiteY3" fmla="*/ 0 h 95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0500" h="95250">
                      <a:moveTo>
                        <a:pt x="95250" y="0"/>
                      </a:moveTo>
                      <a:cubicBezTo>
                        <a:pt x="42863" y="0"/>
                        <a:pt x="0" y="42863"/>
                        <a:pt x="0" y="95250"/>
                      </a:cubicBezTo>
                      <a:lnTo>
                        <a:pt x="190500" y="95250"/>
                      </a:lnTo>
                      <a:cubicBezTo>
                        <a:pt x="190500" y="42863"/>
                        <a:pt x="148590" y="0"/>
                        <a:pt x="95250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2" name="任意多边形 230"/>
                <p:cNvSpPr/>
                <p:nvPr/>
              </p:nvSpPr>
              <p:spPr>
                <a:xfrm>
                  <a:off x="9139237" y="2706052"/>
                  <a:ext cx="134324" cy="67627"/>
                </a:xfrm>
                <a:custGeom>
                  <a:avLst/>
                  <a:gdLst>
                    <a:gd name="connsiteX0" fmla="*/ 67627 w 134324"/>
                    <a:gd name="connsiteY0" fmla="*/ 0 h 67627"/>
                    <a:gd name="connsiteX1" fmla="*/ 0 w 134324"/>
                    <a:gd name="connsiteY1" fmla="*/ 67628 h 67627"/>
                    <a:gd name="connsiteX2" fmla="*/ 134302 w 134324"/>
                    <a:gd name="connsiteY2" fmla="*/ 67628 h 67627"/>
                    <a:gd name="connsiteX3" fmla="*/ 67627 w 134324"/>
                    <a:gd name="connsiteY3" fmla="*/ 0 h 67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4324" h="67627">
                      <a:moveTo>
                        <a:pt x="67627" y="0"/>
                      </a:moveTo>
                      <a:cubicBezTo>
                        <a:pt x="30480" y="0"/>
                        <a:pt x="0" y="30480"/>
                        <a:pt x="0" y="67628"/>
                      </a:cubicBezTo>
                      <a:lnTo>
                        <a:pt x="134302" y="67628"/>
                      </a:lnTo>
                      <a:cubicBezTo>
                        <a:pt x="135255" y="30480"/>
                        <a:pt x="104775" y="0"/>
                        <a:pt x="67627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3" name="任意多边形 231"/>
                <p:cNvSpPr/>
                <p:nvPr/>
              </p:nvSpPr>
              <p:spPr>
                <a:xfrm>
                  <a:off x="9332594" y="2710815"/>
                  <a:ext cx="124777" cy="62865"/>
                </a:xfrm>
                <a:custGeom>
                  <a:avLst/>
                  <a:gdLst>
                    <a:gd name="connsiteX0" fmla="*/ 62865 w 124777"/>
                    <a:gd name="connsiteY0" fmla="*/ 0 h 62865"/>
                    <a:gd name="connsiteX1" fmla="*/ 0 w 124777"/>
                    <a:gd name="connsiteY1" fmla="*/ 62865 h 62865"/>
                    <a:gd name="connsiteX2" fmla="*/ 124778 w 124777"/>
                    <a:gd name="connsiteY2" fmla="*/ 62865 h 62865"/>
                    <a:gd name="connsiteX3" fmla="*/ 62865 w 124777"/>
                    <a:gd name="connsiteY3" fmla="*/ 0 h 62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4777" h="62865">
                      <a:moveTo>
                        <a:pt x="62865" y="0"/>
                      </a:moveTo>
                      <a:cubicBezTo>
                        <a:pt x="28575" y="0"/>
                        <a:pt x="0" y="27622"/>
                        <a:pt x="0" y="62865"/>
                      </a:cubicBezTo>
                      <a:lnTo>
                        <a:pt x="124778" y="62865"/>
                      </a:lnTo>
                      <a:cubicBezTo>
                        <a:pt x="124778" y="27622"/>
                        <a:pt x="97155" y="0"/>
                        <a:pt x="62865" y="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4" name="组合 13"/>
            <p:cNvGrpSpPr/>
            <p:nvPr/>
          </p:nvGrpSpPr>
          <p:grpSpPr>
            <a:xfrm>
              <a:off x="2772569" y="4065269"/>
              <a:ext cx="704850" cy="641032"/>
              <a:chOff x="2737484" y="2132647"/>
              <a:chExt cx="704850" cy="641032"/>
            </a:xfrm>
          </p:grpSpPr>
          <p:sp>
            <p:nvSpPr>
              <p:cNvPr id="15" name="任意多边形 233"/>
              <p:cNvSpPr/>
              <p:nvPr/>
            </p:nvSpPr>
            <p:spPr>
              <a:xfrm>
                <a:off x="2987992" y="2646045"/>
                <a:ext cx="340058" cy="127635"/>
              </a:xfrm>
              <a:custGeom>
                <a:avLst/>
                <a:gdLst>
                  <a:gd name="connsiteX0" fmla="*/ 250508 w 340058"/>
                  <a:gd name="connsiteY0" fmla="*/ 37148 h 127635"/>
                  <a:gd name="connsiteX1" fmla="*/ 221933 w 340058"/>
                  <a:gd name="connsiteY1" fmla="*/ 41910 h 127635"/>
                  <a:gd name="connsiteX2" fmla="*/ 127635 w 340058"/>
                  <a:gd name="connsiteY2" fmla="*/ 0 h 127635"/>
                  <a:gd name="connsiteX3" fmla="*/ 0 w 340058"/>
                  <a:gd name="connsiteY3" fmla="*/ 127635 h 127635"/>
                  <a:gd name="connsiteX4" fmla="*/ 160020 w 340058"/>
                  <a:gd name="connsiteY4" fmla="*/ 127635 h 127635"/>
                  <a:gd name="connsiteX5" fmla="*/ 254318 w 340058"/>
                  <a:gd name="connsiteY5" fmla="*/ 127635 h 127635"/>
                  <a:gd name="connsiteX6" fmla="*/ 340043 w 340058"/>
                  <a:gd name="connsiteY6" fmla="*/ 127635 h 127635"/>
                  <a:gd name="connsiteX7" fmla="*/ 250508 w 340058"/>
                  <a:gd name="connsiteY7" fmla="*/ 37148 h 127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0058" h="127635">
                    <a:moveTo>
                      <a:pt x="250508" y="37148"/>
                    </a:moveTo>
                    <a:cubicBezTo>
                      <a:pt x="240030" y="37148"/>
                      <a:pt x="230505" y="39052"/>
                      <a:pt x="221933" y="41910"/>
                    </a:cubicBezTo>
                    <a:cubicBezTo>
                      <a:pt x="198120" y="16192"/>
                      <a:pt x="164783" y="0"/>
                      <a:pt x="127635" y="0"/>
                    </a:cubicBezTo>
                    <a:cubicBezTo>
                      <a:pt x="57150" y="0"/>
                      <a:pt x="0" y="57150"/>
                      <a:pt x="0" y="127635"/>
                    </a:cubicBezTo>
                    <a:lnTo>
                      <a:pt x="160020" y="127635"/>
                    </a:lnTo>
                    <a:lnTo>
                      <a:pt x="254318" y="127635"/>
                    </a:lnTo>
                    <a:lnTo>
                      <a:pt x="340043" y="127635"/>
                    </a:lnTo>
                    <a:cubicBezTo>
                      <a:pt x="340995" y="77152"/>
                      <a:pt x="300038" y="37148"/>
                      <a:pt x="250508" y="37148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6" name="组合 15"/>
              <p:cNvGrpSpPr/>
              <p:nvPr/>
            </p:nvGrpSpPr>
            <p:grpSpPr>
              <a:xfrm>
                <a:off x="2737484" y="2132647"/>
                <a:ext cx="704850" cy="640080"/>
                <a:chOff x="2737484" y="2132647"/>
                <a:chExt cx="704850" cy="640080"/>
              </a:xfrm>
            </p:grpSpPr>
            <p:sp>
              <p:nvSpPr>
                <p:cNvPr id="18" name="任意多边形 235"/>
                <p:cNvSpPr/>
                <p:nvPr/>
              </p:nvSpPr>
              <p:spPr>
                <a:xfrm>
                  <a:off x="3063239" y="2425065"/>
                  <a:ext cx="49530" cy="347662"/>
                </a:xfrm>
                <a:custGeom>
                  <a:avLst/>
                  <a:gdLst>
                    <a:gd name="connsiteX0" fmla="*/ 0 w 49530"/>
                    <a:gd name="connsiteY0" fmla="*/ 347663 h 347662"/>
                    <a:gd name="connsiteX1" fmla="*/ 49530 w 49530"/>
                    <a:gd name="connsiteY1" fmla="*/ 347663 h 347662"/>
                    <a:gd name="connsiteX2" fmla="*/ 43815 w 49530"/>
                    <a:gd name="connsiteY2" fmla="*/ 0 h 347662"/>
                    <a:gd name="connsiteX3" fmla="*/ 8573 w 49530"/>
                    <a:gd name="connsiteY3" fmla="*/ 0 h 347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9530" h="347662">
                      <a:moveTo>
                        <a:pt x="0" y="347663"/>
                      </a:moveTo>
                      <a:lnTo>
                        <a:pt x="49530" y="347663"/>
                      </a:lnTo>
                      <a:lnTo>
                        <a:pt x="43815" y="0"/>
                      </a:lnTo>
                      <a:lnTo>
                        <a:pt x="8573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" name="任意多边形 236"/>
                <p:cNvSpPr/>
                <p:nvPr/>
              </p:nvSpPr>
              <p:spPr>
                <a:xfrm>
                  <a:off x="3097529" y="2373629"/>
                  <a:ext cx="150866" cy="200025"/>
                </a:xfrm>
                <a:custGeom>
                  <a:avLst/>
                  <a:gdLst>
                    <a:gd name="connsiteX0" fmla="*/ 952 w 150866"/>
                    <a:gd name="connsiteY0" fmla="*/ 158115 h 200025"/>
                    <a:gd name="connsiteX1" fmla="*/ 110490 w 150866"/>
                    <a:gd name="connsiteY1" fmla="*/ 0 h 200025"/>
                    <a:gd name="connsiteX2" fmla="*/ 149543 w 150866"/>
                    <a:gd name="connsiteY2" fmla="*/ 6667 h 200025"/>
                    <a:gd name="connsiteX3" fmla="*/ 0 w 150866"/>
                    <a:gd name="connsiteY3" fmla="*/ 200025 h 200025"/>
                    <a:gd name="connsiteX4" fmla="*/ 952 w 150866"/>
                    <a:gd name="connsiteY4" fmla="*/ 158115 h 200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66" h="200025">
                      <a:moveTo>
                        <a:pt x="952" y="158115"/>
                      </a:moveTo>
                      <a:cubicBezTo>
                        <a:pt x="952" y="158115"/>
                        <a:pt x="152400" y="141923"/>
                        <a:pt x="110490" y="0"/>
                      </a:cubicBezTo>
                      <a:lnTo>
                        <a:pt x="149543" y="6667"/>
                      </a:lnTo>
                      <a:cubicBezTo>
                        <a:pt x="149543" y="6667"/>
                        <a:pt x="175260" y="144780"/>
                        <a:pt x="0" y="200025"/>
                      </a:cubicBezTo>
                      <a:lnTo>
                        <a:pt x="952" y="158115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" name="任意多边形 237"/>
                <p:cNvSpPr/>
                <p:nvPr/>
              </p:nvSpPr>
              <p:spPr>
                <a:xfrm>
                  <a:off x="2968935" y="2326957"/>
                  <a:ext cx="120973" cy="156209"/>
                </a:xfrm>
                <a:custGeom>
                  <a:avLst/>
                  <a:gdLst>
                    <a:gd name="connsiteX0" fmla="*/ 30486 w 120973"/>
                    <a:gd name="connsiteY0" fmla="*/ 10477 h 156209"/>
                    <a:gd name="connsiteX1" fmla="*/ 120974 w 120973"/>
                    <a:gd name="connsiteY1" fmla="*/ 128588 h 156209"/>
                    <a:gd name="connsiteX2" fmla="*/ 106686 w 120973"/>
                    <a:gd name="connsiteY2" fmla="*/ 156210 h 156209"/>
                    <a:gd name="connsiteX3" fmla="*/ 6 w 120973"/>
                    <a:gd name="connsiteY3" fmla="*/ 0 h 156209"/>
                    <a:gd name="connsiteX4" fmla="*/ 30486 w 120973"/>
                    <a:gd name="connsiteY4" fmla="*/ 10477 h 156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0973" h="156209">
                      <a:moveTo>
                        <a:pt x="30486" y="10477"/>
                      </a:moveTo>
                      <a:cubicBezTo>
                        <a:pt x="30486" y="10477"/>
                        <a:pt x="5721" y="125730"/>
                        <a:pt x="120974" y="128588"/>
                      </a:cubicBezTo>
                      <a:lnTo>
                        <a:pt x="106686" y="156210"/>
                      </a:lnTo>
                      <a:cubicBezTo>
                        <a:pt x="106686" y="156210"/>
                        <a:pt x="-946" y="141922"/>
                        <a:pt x="6" y="0"/>
                      </a:cubicBezTo>
                      <a:lnTo>
                        <a:pt x="30486" y="10477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" name="任意多边形 238"/>
                <p:cNvSpPr/>
                <p:nvPr/>
              </p:nvSpPr>
              <p:spPr>
                <a:xfrm>
                  <a:off x="2832734" y="2346959"/>
                  <a:ext cx="167640" cy="97818"/>
                </a:xfrm>
                <a:custGeom>
                  <a:avLst/>
                  <a:gdLst>
                    <a:gd name="connsiteX0" fmla="*/ 32385 w 167640"/>
                    <a:gd name="connsiteY0" fmla="*/ 0 h 97818"/>
                    <a:gd name="connsiteX1" fmla="*/ 167640 w 167640"/>
                    <a:gd name="connsiteY1" fmla="*/ 61913 h 97818"/>
                    <a:gd name="connsiteX2" fmla="*/ 167640 w 167640"/>
                    <a:gd name="connsiteY2" fmla="*/ 92393 h 97818"/>
                    <a:gd name="connsiteX3" fmla="*/ 0 w 167640"/>
                    <a:gd name="connsiteY3" fmla="*/ 4763 h 97818"/>
                    <a:gd name="connsiteX4" fmla="*/ 32385 w 167640"/>
                    <a:gd name="connsiteY4" fmla="*/ 0 h 97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97818">
                      <a:moveTo>
                        <a:pt x="32385" y="0"/>
                      </a:moveTo>
                      <a:cubicBezTo>
                        <a:pt x="32385" y="0"/>
                        <a:pt x="64770" y="112395"/>
                        <a:pt x="167640" y="61913"/>
                      </a:cubicBezTo>
                      <a:lnTo>
                        <a:pt x="167640" y="92393"/>
                      </a:lnTo>
                      <a:cubicBezTo>
                        <a:pt x="167640" y="92393"/>
                        <a:pt x="65723" y="130493"/>
                        <a:pt x="0" y="4763"/>
                      </a:cubicBezTo>
                      <a:lnTo>
                        <a:pt x="32385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" name="任意多边形 239"/>
                <p:cNvSpPr/>
                <p:nvPr/>
              </p:nvSpPr>
              <p:spPr>
                <a:xfrm>
                  <a:off x="3191826" y="2437447"/>
                  <a:ext cx="179070" cy="91847"/>
                </a:xfrm>
                <a:custGeom>
                  <a:avLst/>
                  <a:gdLst>
                    <a:gd name="connsiteX0" fmla="*/ 18098 w 179070"/>
                    <a:gd name="connsiteY0" fmla="*/ 56198 h 91847"/>
                    <a:gd name="connsiteX1" fmla="*/ 156210 w 179070"/>
                    <a:gd name="connsiteY1" fmla="*/ 0 h 91847"/>
                    <a:gd name="connsiteX2" fmla="*/ 179070 w 179070"/>
                    <a:gd name="connsiteY2" fmla="*/ 20955 h 91847"/>
                    <a:gd name="connsiteX3" fmla="*/ 0 w 179070"/>
                    <a:gd name="connsiteY3" fmla="*/ 82868 h 91847"/>
                    <a:gd name="connsiteX4" fmla="*/ 18098 w 179070"/>
                    <a:gd name="connsiteY4" fmla="*/ 56198 h 91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9070" h="91847">
                      <a:moveTo>
                        <a:pt x="18098" y="56198"/>
                      </a:moveTo>
                      <a:cubicBezTo>
                        <a:pt x="18098" y="56198"/>
                        <a:pt x="122873" y="109538"/>
                        <a:pt x="156210" y="0"/>
                      </a:cubicBezTo>
                      <a:lnTo>
                        <a:pt x="179070" y="20955"/>
                      </a:lnTo>
                      <a:cubicBezTo>
                        <a:pt x="179070" y="20955"/>
                        <a:pt x="137160" y="121920"/>
                        <a:pt x="0" y="82868"/>
                      </a:cubicBezTo>
                      <a:lnTo>
                        <a:pt x="18098" y="56198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" name="任意多边形 240"/>
                <p:cNvSpPr/>
                <p:nvPr/>
              </p:nvSpPr>
              <p:spPr>
                <a:xfrm>
                  <a:off x="2895599" y="2154554"/>
                  <a:ext cx="180975" cy="215265"/>
                </a:xfrm>
                <a:custGeom>
                  <a:avLst/>
                  <a:gdLst>
                    <a:gd name="connsiteX0" fmla="*/ 180975 w 180975"/>
                    <a:gd name="connsiteY0" fmla="*/ 119063 h 215265"/>
                    <a:gd name="connsiteX1" fmla="*/ 90488 w 180975"/>
                    <a:gd name="connsiteY1" fmla="*/ 215265 h 215265"/>
                    <a:gd name="connsiteX2" fmla="*/ 0 w 180975"/>
                    <a:gd name="connsiteY2" fmla="*/ 119063 h 215265"/>
                    <a:gd name="connsiteX3" fmla="*/ 90488 w 180975"/>
                    <a:gd name="connsiteY3" fmla="*/ 0 h 215265"/>
                    <a:gd name="connsiteX4" fmla="*/ 180975 w 180975"/>
                    <a:gd name="connsiteY4" fmla="*/ 119063 h 215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975" h="215265">
                      <a:moveTo>
                        <a:pt x="180975" y="119063"/>
                      </a:moveTo>
                      <a:cubicBezTo>
                        <a:pt x="180975" y="184785"/>
                        <a:pt x="140970" y="215265"/>
                        <a:pt x="90488" y="215265"/>
                      </a:cubicBezTo>
                      <a:cubicBezTo>
                        <a:pt x="40957" y="215265"/>
                        <a:pt x="0" y="184785"/>
                        <a:pt x="0" y="119063"/>
                      </a:cubicBezTo>
                      <a:cubicBezTo>
                        <a:pt x="0" y="53340"/>
                        <a:pt x="40005" y="0"/>
                        <a:pt x="90488" y="0"/>
                      </a:cubicBezTo>
                      <a:cubicBezTo>
                        <a:pt x="140018" y="0"/>
                        <a:pt x="180975" y="53340"/>
                        <a:pt x="180975" y="11906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" name="任意多边形 241"/>
                <p:cNvSpPr/>
                <p:nvPr/>
              </p:nvSpPr>
              <p:spPr>
                <a:xfrm>
                  <a:off x="2737484" y="2132647"/>
                  <a:ext cx="217170" cy="259080"/>
                </a:xfrm>
                <a:custGeom>
                  <a:avLst/>
                  <a:gdLst>
                    <a:gd name="connsiteX0" fmla="*/ 217170 w 217170"/>
                    <a:gd name="connsiteY0" fmla="*/ 142875 h 259080"/>
                    <a:gd name="connsiteX1" fmla="*/ 108585 w 217170"/>
                    <a:gd name="connsiteY1" fmla="*/ 259080 h 259080"/>
                    <a:gd name="connsiteX2" fmla="*/ 0 w 217170"/>
                    <a:gd name="connsiteY2" fmla="*/ 142875 h 259080"/>
                    <a:gd name="connsiteX3" fmla="*/ 108585 w 217170"/>
                    <a:gd name="connsiteY3" fmla="*/ 0 h 259080"/>
                    <a:gd name="connsiteX4" fmla="*/ 217170 w 217170"/>
                    <a:gd name="connsiteY4" fmla="*/ 142875 h 259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70" h="259080">
                      <a:moveTo>
                        <a:pt x="217170" y="142875"/>
                      </a:moveTo>
                      <a:cubicBezTo>
                        <a:pt x="217170" y="221933"/>
                        <a:pt x="168593" y="259080"/>
                        <a:pt x="108585" y="259080"/>
                      </a:cubicBezTo>
                      <a:cubicBezTo>
                        <a:pt x="48578" y="259080"/>
                        <a:pt x="0" y="222885"/>
                        <a:pt x="0" y="142875"/>
                      </a:cubicBezTo>
                      <a:cubicBezTo>
                        <a:pt x="0" y="63818"/>
                        <a:pt x="48578" y="0"/>
                        <a:pt x="108585" y="0"/>
                      </a:cubicBezTo>
                      <a:cubicBezTo>
                        <a:pt x="168593" y="0"/>
                        <a:pt x="217170" y="63818"/>
                        <a:pt x="217170" y="142875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5" name="任意多边形 242"/>
                <p:cNvSpPr/>
                <p:nvPr/>
              </p:nvSpPr>
              <p:spPr>
                <a:xfrm>
                  <a:off x="3108959" y="2200275"/>
                  <a:ext cx="217169" cy="218122"/>
                </a:xfrm>
                <a:custGeom>
                  <a:avLst/>
                  <a:gdLst>
                    <a:gd name="connsiteX0" fmla="*/ 217170 w 217169"/>
                    <a:gd name="connsiteY0" fmla="*/ 120967 h 218122"/>
                    <a:gd name="connsiteX1" fmla="*/ 108585 w 217169"/>
                    <a:gd name="connsiteY1" fmla="*/ 218122 h 218122"/>
                    <a:gd name="connsiteX2" fmla="*/ 0 w 217169"/>
                    <a:gd name="connsiteY2" fmla="*/ 120967 h 218122"/>
                    <a:gd name="connsiteX3" fmla="*/ 108585 w 217169"/>
                    <a:gd name="connsiteY3" fmla="*/ 0 h 218122"/>
                    <a:gd name="connsiteX4" fmla="*/ 217170 w 217169"/>
                    <a:gd name="connsiteY4" fmla="*/ 120967 h 218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69" h="218122">
                      <a:moveTo>
                        <a:pt x="217170" y="120967"/>
                      </a:moveTo>
                      <a:cubicBezTo>
                        <a:pt x="217170" y="187642"/>
                        <a:pt x="168592" y="218122"/>
                        <a:pt x="108585" y="218122"/>
                      </a:cubicBezTo>
                      <a:cubicBezTo>
                        <a:pt x="48577" y="218122"/>
                        <a:pt x="0" y="187642"/>
                        <a:pt x="0" y="120967"/>
                      </a:cubicBezTo>
                      <a:cubicBezTo>
                        <a:pt x="0" y="54292"/>
                        <a:pt x="48577" y="0"/>
                        <a:pt x="108585" y="0"/>
                      </a:cubicBezTo>
                      <a:cubicBezTo>
                        <a:pt x="168592" y="0"/>
                        <a:pt x="217170" y="54292"/>
                        <a:pt x="217170" y="120967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6" name="任意多边形 243"/>
                <p:cNvSpPr/>
                <p:nvPr/>
              </p:nvSpPr>
              <p:spPr>
                <a:xfrm>
                  <a:off x="3016567" y="2297429"/>
                  <a:ext cx="142875" cy="144779"/>
                </a:xfrm>
                <a:custGeom>
                  <a:avLst/>
                  <a:gdLst>
                    <a:gd name="connsiteX0" fmla="*/ 142875 w 142875"/>
                    <a:gd name="connsiteY0" fmla="*/ 80010 h 144779"/>
                    <a:gd name="connsiteX1" fmla="*/ 71438 w 142875"/>
                    <a:gd name="connsiteY1" fmla="*/ 144780 h 144779"/>
                    <a:gd name="connsiteX2" fmla="*/ 0 w 142875"/>
                    <a:gd name="connsiteY2" fmla="*/ 80010 h 144779"/>
                    <a:gd name="connsiteX3" fmla="*/ 71438 w 142875"/>
                    <a:gd name="connsiteY3" fmla="*/ 0 h 144779"/>
                    <a:gd name="connsiteX4" fmla="*/ 142875 w 142875"/>
                    <a:gd name="connsiteY4" fmla="*/ 80010 h 144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875" h="144779">
                      <a:moveTo>
                        <a:pt x="142875" y="80010"/>
                      </a:moveTo>
                      <a:cubicBezTo>
                        <a:pt x="142875" y="123825"/>
                        <a:pt x="110490" y="144780"/>
                        <a:pt x="71438" y="144780"/>
                      </a:cubicBezTo>
                      <a:cubicBezTo>
                        <a:pt x="31432" y="144780"/>
                        <a:pt x="0" y="124778"/>
                        <a:pt x="0" y="80010"/>
                      </a:cubicBezTo>
                      <a:cubicBezTo>
                        <a:pt x="0" y="36195"/>
                        <a:pt x="32385" y="0"/>
                        <a:pt x="71438" y="0"/>
                      </a:cubicBezTo>
                      <a:cubicBezTo>
                        <a:pt x="110490" y="0"/>
                        <a:pt x="142875" y="36195"/>
                        <a:pt x="142875" y="8001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7" name="任意多边形 244"/>
                <p:cNvSpPr/>
                <p:nvPr/>
              </p:nvSpPr>
              <p:spPr>
                <a:xfrm>
                  <a:off x="3274694" y="2323147"/>
                  <a:ext cx="167640" cy="167640"/>
                </a:xfrm>
                <a:custGeom>
                  <a:avLst/>
                  <a:gdLst>
                    <a:gd name="connsiteX0" fmla="*/ 167640 w 167640"/>
                    <a:gd name="connsiteY0" fmla="*/ 92393 h 167640"/>
                    <a:gd name="connsiteX1" fmla="*/ 83820 w 167640"/>
                    <a:gd name="connsiteY1" fmla="*/ 167640 h 167640"/>
                    <a:gd name="connsiteX2" fmla="*/ 0 w 167640"/>
                    <a:gd name="connsiteY2" fmla="*/ 92393 h 167640"/>
                    <a:gd name="connsiteX3" fmla="*/ 83820 w 167640"/>
                    <a:gd name="connsiteY3" fmla="*/ 0 h 167640"/>
                    <a:gd name="connsiteX4" fmla="*/ 167640 w 167640"/>
                    <a:gd name="connsiteY4" fmla="*/ 92393 h 1676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167640">
                      <a:moveTo>
                        <a:pt x="167640" y="92393"/>
                      </a:moveTo>
                      <a:cubicBezTo>
                        <a:pt x="167640" y="143828"/>
                        <a:pt x="130493" y="167640"/>
                        <a:pt x="83820" y="167640"/>
                      </a:cubicBezTo>
                      <a:cubicBezTo>
                        <a:pt x="38100" y="167640"/>
                        <a:pt x="0" y="143828"/>
                        <a:pt x="0" y="92393"/>
                      </a:cubicBezTo>
                      <a:cubicBezTo>
                        <a:pt x="0" y="40958"/>
                        <a:pt x="37148" y="0"/>
                        <a:pt x="83820" y="0"/>
                      </a:cubicBezTo>
                      <a:cubicBezTo>
                        <a:pt x="129540" y="0"/>
                        <a:pt x="167640" y="40958"/>
                        <a:pt x="167640" y="9239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7" name="任意多边形 245"/>
              <p:cNvSpPr/>
              <p:nvPr/>
            </p:nvSpPr>
            <p:spPr>
              <a:xfrm>
                <a:off x="2830829" y="2681287"/>
                <a:ext cx="247650" cy="92392"/>
              </a:xfrm>
              <a:custGeom>
                <a:avLst/>
                <a:gdLst>
                  <a:gd name="connsiteX0" fmla="*/ 65723 w 247650"/>
                  <a:gd name="connsiteY0" fmla="*/ 26670 h 92392"/>
                  <a:gd name="connsiteX1" fmla="*/ 86677 w 247650"/>
                  <a:gd name="connsiteY1" fmla="*/ 30480 h 92392"/>
                  <a:gd name="connsiteX2" fmla="*/ 155258 w 247650"/>
                  <a:gd name="connsiteY2" fmla="*/ 0 h 92392"/>
                  <a:gd name="connsiteX3" fmla="*/ 247650 w 247650"/>
                  <a:gd name="connsiteY3" fmla="*/ 92393 h 92392"/>
                  <a:gd name="connsiteX4" fmla="*/ 130493 w 247650"/>
                  <a:gd name="connsiteY4" fmla="*/ 92393 h 92392"/>
                  <a:gd name="connsiteX5" fmla="*/ 61913 w 247650"/>
                  <a:gd name="connsiteY5" fmla="*/ 92393 h 92392"/>
                  <a:gd name="connsiteX6" fmla="*/ 0 w 247650"/>
                  <a:gd name="connsiteY6" fmla="*/ 92393 h 92392"/>
                  <a:gd name="connsiteX7" fmla="*/ 65723 w 247650"/>
                  <a:gd name="connsiteY7" fmla="*/ 26670 h 92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7650" h="92392">
                    <a:moveTo>
                      <a:pt x="65723" y="26670"/>
                    </a:moveTo>
                    <a:cubicBezTo>
                      <a:pt x="73343" y="26670"/>
                      <a:pt x="80010" y="27622"/>
                      <a:pt x="86677" y="30480"/>
                    </a:cubicBezTo>
                    <a:cubicBezTo>
                      <a:pt x="103823" y="11430"/>
                      <a:pt x="127635" y="0"/>
                      <a:pt x="155258" y="0"/>
                    </a:cubicBezTo>
                    <a:cubicBezTo>
                      <a:pt x="206693" y="0"/>
                      <a:pt x="247650" y="40957"/>
                      <a:pt x="247650" y="92393"/>
                    </a:cubicBezTo>
                    <a:lnTo>
                      <a:pt x="130493" y="92393"/>
                    </a:lnTo>
                    <a:lnTo>
                      <a:pt x="61913" y="92393"/>
                    </a:lnTo>
                    <a:lnTo>
                      <a:pt x="0" y="92393"/>
                    </a:lnTo>
                    <a:cubicBezTo>
                      <a:pt x="0" y="56197"/>
                      <a:pt x="29528" y="26670"/>
                      <a:pt x="65723" y="2667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pic>
        <p:nvPicPr>
          <p:cNvPr id="105" name="图片 104"/>
          <p:cNvPicPr/>
          <p:nvPr/>
        </p:nvPicPr>
        <p:blipFill>
          <a:blip r:embed="rId3"/>
          <a:stretch>
            <a:fillRect/>
          </a:stretch>
        </p:blipFill>
        <p:spPr>
          <a:xfrm>
            <a:off x="3285490" y="1153795"/>
            <a:ext cx="5580380" cy="162560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06" name="图片 105"/>
          <p:cNvPicPr/>
          <p:nvPr/>
        </p:nvPicPr>
        <p:blipFill>
          <a:blip r:embed="rId4"/>
          <a:stretch>
            <a:fillRect/>
          </a:stretch>
        </p:blipFill>
        <p:spPr>
          <a:xfrm>
            <a:off x="5804218" y="2960053"/>
            <a:ext cx="6067425" cy="340042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91" name="图片 90"/>
          <p:cNvPicPr/>
          <p:nvPr/>
        </p:nvPicPr>
        <p:blipFill>
          <a:blip r:embed="rId5"/>
          <a:stretch>
            <a:fillRect/>
          </a:stretch>
        </p:blipFill>
        <p:spPr>
          <a:xfrm>
            <a:off x="260985" y="4444365"/>
            <a:ext cx="5962650" cy="1714500"/>
          </a:xfrm>
          <a:prstGeom prst="rect">
            <a:avLst/>
          </a:prstGeom>
          <a:noFill/>
          <a:ln w="9525">
            <a:noFill/>
          </a:ln>
        </p:spPr>
      </p:pic>
    </p:spTree>
    <p:custDataLst>
      <p:tags r:id="rId1"/>
    </p:custData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nhance Image Resolution using Autoencoder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9</a:t>
            </a:fld>
            <a:endParaRPr lang="zh-CN" altLang="en-US"/>
          </a:p>
        </p:txBody>
      </p:sp>
      <p:grpSp>
        <p:nvGrpSpPr>
          <p:cNvPr id="5" name="组合 4"/>
          <p:cNvGrpSpPr/>
          <p:nvPr/>
        </p:nvGrpSpPr>
        <p:grpSpPr>
          <a:xfrm>
            <a:off x="8358909" y="5477164"/>
            <a:ext cx="3719729" cy="1298762"/>
            <a:chOff x="2772569" y="2151697"/>
            <a:chExt cx="6719888" cy="2554605"/>
          </a:xfrm>
        </p:grpSpPr>
        <p:grpSp>
          <p:nvGrpSpPr>
            <p:cNvPr id="6" name="组合 5"/>
            <p:cNvGrpSpPr/>
            <p:nvPr/>
          </p:nvGrpSpPr>
          <p:grpSpPr>
            <a:xfrm>
              <a:off x="7873207" y="2151697"/>
              <a:ext cx="1093469" cy="2553652"/>
              <a:chOff x="7838122" y="219075"/>
              <a:chExt cx="1093469" cy="2553652"/>
            </a:xfrm>
          </p:grpSpPr>
          <p:sp>
            <p:nvSpPr>
              <p:cNvPr id="79" name="任意多边形 157"/>
              <p:cNvSpPr/>
              <p:nvPr/>
            </p:nvSpPr>
            <p:spPr>
              <a:xfrm>
                <a:off x="8309609" y="280987"/>
                <a:ext cx="151447" cy="2491740"/>
              </a:xfrm>
              <a:custGeom>
                <a:avLst/>
                <a:gdLst>
                  <a:gd name="connsiteX0" fmla="*/ 151447 w 151447"/>
                  <a:gd name="connsiteY0" fmla="*/ 2491740 h 2491740"/>
                  <a:gd name="connsiteX1" fmla="*/ 0 w 151447"/>
                  <a:gd name="connsiteY1" fmla="*/ 2491740 h 2491740"/>
                  <a:gd name="connsiteX2" fmla="*/ 52388 w 151447"/>
                  <a:gd name="connsiteY2" fmla="*/ 0 h 2491740"/>
                  <a:gd name="connsiteX3" fmla="*/ 99060 w 151447"/>
                  <a:gd name="connsiteY3" fmla="*/ 0 h 249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1447" h="2491740">
                    <a:moveTo>
                      <a:pt x="151447" y="2491740"/>
                    </a:moveTo>
                    <a:lnTo>
                      <a:pt x="0" y="2491740"/>
                    </a:lnTo>
                    <a:lnTo>
                      <a:pt x="52388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80" name="组合 79"/>
              <p:cNvGrpSpPr/>
              <p:nvPr/>
            </p:nvGrpSpPr>
            <p:grpSpPr>
              <a:xfrm>
                <a:off x="7838122" y="219075"/>
                <a:ext cx="1093469" cy="1788795"/>
                <a:chOff x="7838122" y="219075"/>
                <a:chExt cx="1093469" cy="1788795"/>
              </a:xfrm>
            </p:grpSpPr>
            <p:sp>
              <p:nvSpPr>
                <p:cNvPr id="81" name="任意多边形 159"/>
                <p:cNvSpPr/>
                <p:nvPr/>
              </p:nvSpPr>
              <p:spPr>
                <a:xfrm>
                  <a:off x="7838122" y="1418272"/>
                  <a:ext cx="1093469" cy="589597"/>
                </a:xfrm>
                <a:custGeom>
                  <a:avLst/>
                  <a:gdLst>
                    <a:gd name="connsiteX0" fmla="*/ 542925 w 1093469"/>
                    <a:gd name="connsiteY0" fmla="*/ 0 h 589597"/>
                    <a:gd name="connsiteX1" fmla="*/ 0 w 1093469"/>
                    <a:gd name="connsiteY1" fmla="*/ 589598 h 589597"/>
                    <a:gd name="connsiteX2" fmla="*/ 546735 w 1093469"/>
                    <a:gd name="connsiteY2" fmla="*/ 589598 h 589597"/>
                    <a:gd name="connsiteX3" fmla="*/ 1093470 w 1093469"/>
                    <a:gd name="connsiteY3" fmla="*/ 589598 h 589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93469" h="589597">
                      <a:moveTo>
                        <a:pt x="542925" y="0"/>
                      </a:moveTo>
                      <a:lnTo>
                        <a:pt x="0" y="589598"/>
                      </a:lnTo>
                      <a:lnTo>
                        <a:pt x="546735" y="589598"/>
                      </a:lnTo>
                      <a:lnTo>
                        <a:pt x="1093470" y="589598"/>
                      </a:ln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2" name="任意多边形 160"/>
                <p:cNvSpPr/>
                <p:nvPr/>
              </p:nvSpPr>
              <p:spPr>
                <a:xfrm>
                  <a:off x="7892414" y="1091564"/>
                  <a:ext cx="979170" cy="480060"/>
                </a:xfrm>
                <a:custGeom>
                  <a:avLst/>
                  <a:gdLst>
                    <a:gd name="connsiteX0" fmla="*/ 486728 w 979170"/>
                    <a:gd name="connsiteY0" fmla="*/ 0 h 480060"/>
                    <a:gd name="connsiteX1" fmla="*/ 0 w 979170"/>
                    <a:gd name="connsiteY1" fmla="*/ 480060 h 480060"/>
                    <a:gd name="connsiteX2" fmla="*/ 489585 w 979170"/>
                    <a:gd name="connsiteY2" fmla="*/ 480060 h 480060"/>
                    <a:gd name="connsiteX3" fmla="*/ 979170 w 979170"/>
                    <a:gd name="connsiteY3" fmla="*/ 480060 h 4800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9170" h="480060">
                      <a:moveTo>
                        <a:pt x="486728" y="0"/>
                      </a:moveTo>
                      <a:lnTo>
                        <a:pt x="0" y="480060"/>
                      </a:lnTo>
                      <a:lnTo>
                        <a:pt x="489585" y="480060"/>
                      </a:lnTo>
                      <a:lnTo>
                        <a:pt x="979170" y="480060"/>
                      </a:ln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3" name="任意多边形 161"/>
                <p:cNvSpPr/>
                <p:nvPr/>
              </p:nvSpPr>
              <p:spPr>
                <a:xfrm>
                  <a:off x="7937181" y="819150"/>
                  <a:ext cx="886777" cy="398145"/>
                </a:xfrm>
                <a:custGeom>
                  <a:avLst/>
                  <a:gdLst>
                    <a:gd name="connsiteX0" fmla="*/ 441007 w 886777"/>
                    <a:gd name="connsiteY0" fmla="*/ 0 h 398145"/>
                    <a:gd name="connsiteX1" fmla="*/ 0 w 886777"/>
                    <a:gd name="connsiteY1" fmla="*/ 398145 h 398145"/>
                    <a:gd name="connsiteX2" fmla="*/ 442913 w 886777"/>
                    <a:gd name="connsiteY2" fmla="*/ 398145 h 398145"/>
                    <a:gd name="connsiteX3" fmla="*/ 886778 w 886777"/>
                    <a:gd name="connsiteY3" fmla="*/ 398145 h 3981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86777" h="398145">
                      <a:moveTo>
                        <a:pt x="441007" y="0"/>
                      </a:moveTo>
                      <a:lnTo>
                        <a:pt x="0" y="398145"/>
                      </a:lnTo>
                      <a:lnTo>
                        <a:pt x="442913" y="398145"/>
                      </a:lnTo>
                      <a:lnTo>
                        <a:pt x="886778" y="398145"/>
                      </a:ln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4" name="任意多边形 162"/>
                <p:cNvSpPr/>
                <p:nvPr/>
              </p:nvSpPr>
              <p:spPr>
                <a:xfrm>
                  <a:off x="7973376" y="587692"/>
                  <a:ext cx="809625" cy="336232"/>
                </a:xfrm>
                <a:custGeom>
                  <a:avLst/>
                  <a:gdLst>
                    <a:gd name="connsiteX0" fmla="*/ 402908 w 809625"/>
                    <a:gd name="connsiteY0" fmla="*/ 0 h 336232"/>
                    <a:gd name="connsiteX1" fmla="*/ 0 w 809625"/>
                    <a:gd name="connsiteY1" fmla="*/ 336233 h 336232"/>
                    <a:gd name="connsiteX2" fmla="*/ 404813 w 809625"/>
                    <a:gd name="connsiteY2" fmla="*/ 336233 h 336232"/>
                    <a:gd name="connsiteX3" fmla="*/ 809625 w 809625"/>
                    <a:gd name="connsiteY3" fmla="*/ 336233 h 336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9625" h="336232">
                      <a:moveTo>
                        <a:pt x="402908" y="0"/>
                      </a:moveTo>
                      <a:lnTo>
                        <a:pt x="0" y="336233"/>
                      </a:lnTo>
                      <a:lnTo>
                        <a:pt x="404813" y="336233"/>
                      </a:lnTo>
                      <a:lnTo>
                        <a:pt x="809625" y="336233"/>
                      </a:lnTo>
                      <a:close/>
                    </a:path>
                  </a:pathLst>
                </a:custGeom>
                <a:solidFill>
                  <a:srgbClr val="45BC5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5" name="任意多边形 163"/>
                <p:cNvSpPr/>
                <p:nvPr/>
              </p:nvSpPr>
              <p:spPr>
                <a:xfrm>
                  <a:off x="8003856" y="390525"/>
                  <a:ext cx="745807" cy="286702"/>
                </a:xfrm>
                <a:custGeom>
                  <a:avLst/>
                  <a:gdLst>
                    <a:gd name="connsiteX0" fmla="*/ 371475 w 745807"/>
                    <a:gd name="connsiteY0" fmla="*/ 0 h 286702"/>
                    <a:gd name="connsiteX1" fmla="*/ 0 w 745807"/>
                    <a:gd name="connsiteY1" fmla="*/ 286703 h 286702"/>
                    <a:gd name="connsiteX2" fmla="*/ 373380 w 745807"/>
                    <a:gd name="connsiteY2" fmla="*/ 286703 h 286702"/>
                    <a:gd name="connsiteX3" fmla="*/ 745807 w 745807"/>
                    <a:gd name="connsiteY3" fmla="*/ 286703 h 286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5807" h="286702">
                      <a:moveTo>
                        <a:pt x="371475" y="0"/>
                      </a:moveTo>
                      <a:lnTo>
                        <a:pt x="0" y="286703"/>
                      </a:lnTo>
                      <a:lnTo>
                        <a:pt x="373380" y="286703"/>
                      </a:lnTo>
                      <a:lnTo>
                        <a:pt x="745807" y="286703"/>
                      </a:ln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6" name="任意多边形 164"/>
                <p:cNvSpPr/>
                <p:nvPr/>
              </p:nvSpPr>
              <p:spPr>
                <a:xfrm>
                  <a:off x="8030526" y="219075"/>
                  <a:ext cx="690562" cy="248602"/>
                </a:xfrm>
                <a:custGeom>
                  <a:avLst/>
                  <a:gdLst>
                    <a:gd name="connsiteX0" fmla="*/ 343853 w 690562"/>
                    <a:gd name="connsiteY0" fmla="*/ 0 h 248602"/>
                    <a:gd name="connsiteX1" fmla="*/ 0 w 690562"/>
                    <a:gd name="connsiteY1" fmla="*/ 248603 h 248602"/>
                    <a:gd name="connsiteX2" fmla="*/ 344805 w 690562"/>
                    <a:gd name="connsiteY2" fmla="*/ 248603 h 248602"/>
                    <a:gd name="connsiteX3" fmla="*/ 690563 w 690562"/>
                    <a:gd name="connsiteY3" fmla="*/ 248603 h 2486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0562" h="248602">
                      <a:moveTo>
                        <a:pt x="343853" y="0"/>
                      </a:moveTo>
                      <a:lnTo>
                        <a:pt x="0" y="248603"/>
                      </a:lnTo>
                      <a:lnTo>
                        <a:pt x="344805" y="248603"/>
                      </a:lnTo>
                      <a:lnTo>
                        <a:pt x="690563" y="248603"/>
                      </a:ln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7" name="组合 6"/>
            <p:cNvGrpSpPr/>
            <p:nvPr/>
          </p:nvGrpSpPr>
          <p:grpSpPr>
            <a:xfrm>
              <a:off x="5240497" y="2258376"/>
              <a:ext cx="1892617" cy="2446972"/>
              <a:chOff x="5205412" y="325754"/>
              <a:chExt cx="1892617" cy="2446972"/>
            </a:xfrm>
          </p:grpSpPr>
          <p:sp>
            <p:nvSpPr>
              <p:cNvPr id="67" name="任意多边形 168"/>
              <p:cNvSpPr/>
              <p:nvPr/>
            </p:nvSpPr>
            <p:spPr>
              <a:xfrm>
                <a:off x="6055042" y="425767"/>
                <a:ext cx="194309" cy="2346960"/>
              </a:xfrm>
              <a:custGeom>
                <a:avLst/>
                <a:gdLst>
                  <a:gd name="connsiteX0" fmla="*/ 194310 w 194309"/>
                  <a:gd name="connsiteY0" fmla="*/ 2346960 h 2346960"/>
                  <a:gd name="connsiteX1" fmla="*/ 0 w 194309"/>
                  <a:gd name="connsiteY1" fmla="*/ 2346960 h 2346960"/>
                  <a:gd name="connsiteX2" fmla="*/ 66675 w 194309"/>
                  <a:gd name="connsiteY2" fmla="*/ 0 h 2346960"/>
                  <a:gd name="connsiteX3" fmla="*/ 127635 w 194309"/>
                  <a:gd name="connsiteY3" fmla="*/ 0 h 2346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4309" h="2346960">
                    <a:moveTo>
                      <a:pt x="194310" y="2346960"/>
                    </a:moveTo>
                    <a:lnTo>
                      <a:pt x="0" y="2346960"/>
                    </a:lnTo>
                    <a:lnTo>
                      <a:pt x="66675" y="0"/>
                    </a:lnTo>
                    <a:lnTo>
                      <a:pt x="127635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8" name="组合 67"/>
              <p:cNvGrpSpPr/>
              <p:nvPr/>
            </p:nvGrpSpPr>
            <p:grpSpPr>
              <a:xfrm>
                <a:off x="5205412" y="325754"/>
                <a:ext cx="1892617" cy="1728787"/>
                <a:chOff x="5205412" y="325754"/>
                <a:chExt cx="1892617" cy="1728787"/>
              </a:xfrm>
            </p:grpSpPr>
            <p:sp>
              <p:nvSpPr>
                <p:cNvPr id="69" name="任意多边形 170"/>
                <p:cNvSpPr/>
                <p:nvPr/>
              </p:nvSpPr>
              <p:spPr>
                <a:xfrm>
                  <a:off x="5354954" y="596264"/>
                  <a:ext cx="741044" cy="741045"/>
                </a:xfrm>
                <a:custGeom>
                  <a:avLst/>
                  <a:gdLst>
                    <a:gd name="connsiteX0" fmla="*/ 741045 w 741044"/>
                    <a:gd name="connsiteY0" fmla="*/ 370523 h 741045"/>
                    <a:gd name="connsiteX1" fmla="*/ 370522 w 741044"/>
                    <a:gd name="connsiteY1" fmla="*/ 741045 h 741045"/>
                    <a:gd name="connsiteX2" fmla="*/ 0 w 741044"/>
                    <a:gd name="connsiteY2" fmla="*/ 370523 h 741045"/>
                    <a:gd name="connsiteX3" fmla="*/ 370522 w 741044"/>
                    <a:gd name="connsiteY3" fmla="*/ 0 h 741045"/>
                    <a:gd name="connsiteX4" fmla="*/ 741045 w 741044"/>
                    <a:gd name="connsiteY4" fmla="*/ 370523 h 741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1044" h="741045">
                      <a:moveTo>
                        <a:pt x="741045" y="370523"/>
                      </a:moveTo>
                      <a:cubicBezTo>
                        <a:pt x="741045" y="575310"/>
                        <a:pt x="575310" y="741045"/>
                        <a:pt x="370522" y="741045"/>
                      </a:cubicBezTo>
                      <a:cubicBezTo>
                        <a:pt x="165735" y="741045"/>
                        <a:pt x="0" y="575310"/>
                        <a:pt x="0" y="370523"/>
                      </a:cubicBezTo>
                      <a:cubicBezTo>
                        <a:pt x="0" y="165735"/>
                        <a:pt x="165735" y="0"/>
                        <a:pt x="370522" y="0"/>
                      </a:cubicBezTo>
                      <a:cubicBezTo>
                        <a:pt x="574357" y="0"/>
                        <a:pt x="741045" y="165735"/>
                        <a:pt x="741045" y="370523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0" name="任意多边形 171"/>
                <p:cNvSpPr/>
                <p:nvPr/>
              </p:nvSpPr>
              <p:spPr>
                <a:xfrm>
                  <a:off x="6587489" y="866769"/>
                  <a:ext cx="510540" cy="510545"/>
                </a:xfrm>
                <a:custGeom>
                  <a:avLst/>
                  <a:gdLst>
                    <a:gd name="connsiteX0" fmla="*/ 510540 w 510540"/>
                    <a:gd name="connsiteY0" fmla="*/ 255276 h 510545"/>
                    <a:gd name="connsiteX1" fmla="*/ 255270 w 510540"/>
                    <a:gd name="connsiteY1" fmla="*/ 510546 h 510545"/>
                    <a:gd name="connsiteX2" fmla="*/ 0 w 510540"/>
                    <a:gd name="connsiteY2" fmla="*/ 255276 h 510545"/>
                    <a:gd name="connsiteX3" fmla="*/ 255270 w 510540"/>
                    <a:gd name="connsiteY3" fmla="*/ 6 h 510545"/>
                    <a:gd name="connsiteX4" fmla="*/ 510540 w 510540"/>
                    <a:gd name="connsiteY4" fmla="*/ 255276 h 5105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0540" h="510545">
                      <a:moveTo>
                        <a:pt x="510540" y="255276"/>
                      </a:moveTo>
                      <a:cubicBezTo>
                        <a:pt x="510540" y="396246"/>
                        <a:pt x="396240" y="510546"/>
                        <a:pt x="255270" y="510546"/>
                      </a:cubicBezTo>
                      <a:cubicBezTo>
                        <a:pt x="114300" y="510546"/>
                        <a:pt x="0" y="396246"/>
                        <a:pt x="0" y="255276"/>
                      </a:cubicBezTo>
                      <a:cubicBezTo>
                        <a:pt x="0" y="114306"/>
                        <a:pt x="114300" y="6"/>
                        <a:pt x="255270" y="6"/>
                      </a:cubicBezTo>
                      <a:cubicBezTo>
                        <a:pt x="396240" y="-947"/>
                        <a:pt x="510540" y="114306"/>
                        <a:pt x="510540" y="255276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1" name="任意多边形 172"/>
                <p:cNvSpPr/>
                <p:nvPr/>
              </p:nvSpPr>
              <p:spPr>
                <a:xfrm>
                  <a:off x="5427344" y="545782"/>
                  <a:ext cx="1508760" cy="1508759"/>
                </a:xfrm>
                <a:custGeom>
                  <a:avLst/>
                  <a:gdLst>
                    <a:gd name="connsiteX0" fmla="*/ 1508760 w 1508760"/>
                    <a:gd name="connsiteY0" fmla="*/ 754380 h 1508759"/>
                    <a:gd name="connsiteX1" fmla="*/ 754380 w 1508760"/>
                    <a:gd name="connsiteY1" fmla="*/ 1508760 h 1508759"/>
                    <a:gd name="connsiteX2" fmla="*/ 0 w 1508760"/>
                    <a:gd name="connsiteY2" fmla="*/ 754380 h 1508759"/>
                    <a:gd name="connsiteX3" fmla="*/ 754380 w 1508760"/>
                    <a:gd name="connsiteY3" fmla="*/ 0 h 1508759"/>
                    <a:gd name="connsiteX4" fmla="*/ 1508760 w 1508760"/>
                    <a:gd name="connsiteY4" fmla="*/ 754380 h 1508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760" h="1508759">
                      <a:moveTo>
                        <a:pt x="1508760" y="754380"/>
                      </a:moveTo>
                      <a:cubicBezTo>
                        <a:pt x="1508760" y="1170623"/>
                        <a:pt x="1171575" y="1508760"/>
                        <a:pt x="754380" y="1508760"/>
                      </a:cubicBezTo>
                      <a:cubicBezTo>
                        <a:pt x="338138" y="1508760"/>
                        <a:pt x="0" y="1171575"/>
                        <a:pt x="0" y="754380"/>
                      </a:cubicBezTo>
                      <a:cubicBezTo>
                        <a:pt x="0" y="338138"/>
                        <a:pt x="337185" y="0"/>
                        <a:pt x="754380" y="0"/>
                      </a:cubicBezTo>
                      <a:cubicBezTo>
                        <a:pt x="1171575" y="953"/>
                        <a:pt x="1508760" y="338138"/>
                        <a:pt x="1508760" y="754380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2" name="任意多边形 173"/>
                <p:cNvSpPr/>
                <p:nvPr/>
              </p:nvSpPr>
              <p:spPr>
                <a:xfrm>
                  <a:off x="5205412" y="1026795"/>
                  <a:ext cx="798194" cy="798195"/>
                </a:xfrm>
                <a:custGeom>
                  <a:avLst/>
                  <a:gdLst>
                    <a:gd name="connsiteX0" fmla="*/ 798195 w 798194"/>
                    <a:gd name="connsiteY0" fmla="*/ 399097 h 798195"/>
                    <a:gd name="connsiteX1" fmla="*/ 399097 w 798194"/>
                    <a:gd name="connsiteY1" fmla="*/ 798195 h 798195"/>
                    <a:gd name="connsiteX2" fmla="*/ 0 w 798194"/>
                    <a:gd name="connsiteY2" fmla="*/ 399097 h 798195"/>
                    <a:gd name="connsiteX3" fmla="*/ 399097 w 798194"/>
                    <a:gd name="connsiteY3" fmla="*/ 0 h 798195"/>
                    <a:gd name="connsiteX4" fmla="*/ 798195 w 798194"/>
                    <a:gd name="connsiteY4" fmla="*/ 399097 h 798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98194" h="798195">
                      <a:moveTo>
                        <a:pt x="798195" y="399097"/>
                      </a:moveTo>
                      <a:cubicBezTo>
                        <a:pt x="798195" y="619125"/>
                        <a:pt x="619125" y="798195"/>
                        <a:pt x="399097" y="798195"/>
                      </a:cubicBezTo>
                      <a:cubicBezTo>
                        <a:pt x="179070" y="798195"/>
                        <a:pt x="0" y="619125"/>
                        <a:pt x="0" y="399097"/>
                      </a:cubicBezTo>
                      <a:cubicBezTo>
                        <a:pt x="0" y="179070"/>
                        <a:pt x="179070" y="0"/>
                        <a:pt x="399097" y="0"/>
                      </a:cubicBezTo>
                      <a:cubicBezTo>
                        <a:pt x="619125" y="0"/>
                        <a:pt x="798195" y="179070"/>
                        <a:pt x="798195" y="399097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3" name="任意多边形 174"/>
                <p:cNvSpPr/>
                <p:nvPr/>
              </p:nvSpPr>
              <p:spPr>
                <a:xfrm>
                  <a:off x="6276021" y="1425892"/>
                  <a:ext cx="609600" cy="609600"/>
                </a:xfrm>
                <a:custGeom>
                  <a:avLst/>
                  <a:gdLst>
                    <a:gd name="connsiteX0" fmla="*/ 609600 w 609600"/>
                    <a:gd name="connsiteY0" fmla="*/ 304800 h 609600"/>
                    <a:gd name="connsiteX1" fmla="*/ 304800 w 609600"/>
                    <a:gd name="connsiteY1" fmla="*/ 609600 h 609600"/>
                    <a:gd name="connsiteX2" fmla="*/ 0 w 609600"/>
                    <a:gd name="connsiteY2" fmla="*/ 304800 h 609600"/>
                    <a:gd name="connsiteX3" fmla="*/ 304800 w 609600"/>
                    <a:gd name="connsiteY3" fmla="*/ 0 h 609600"/>
                    <a:gd name="connsiteX4" fmla="*/ 609600 w 609600"/>
                    <a:gd name="connsiteY4" fmla="*/ 304800 h 609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9600" h="609600">
                      <a:moveTo>
                        <a:pt x="609600" y="304800"/>
                      </a:moveTo>
                      <a:cubicBezTo>
                        <a:pt x="609600" y="473392"/>
                        <a:pt x="473393" y="609600"/>
                        <a:pt x="304800" y="609600"/>
                      </a:cubicBezTo>
                      <a:cubicBezTo>
                        <a:pt x="136208" y="609600"/>
                        <a:pt x="0" y="473392"/>
                        <a:pt x="0" y="304800"/>
                      </a:cubicBezTo>
                      <a:cubicBezTo>
                        <a:pt x="0" y="136208"/>
                        <a:pt x="136208" y="0"/>
                        <a:pt x="304800" y="0"/>
                      </a:cubicBezTo>
                      <a:cubicBezTo>
                        <a:pt x="473393" y="0"/>
                        <a:pt x="609600" y="136208"/>
                        <a:pt x="609600" y="30480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4" name="任意多边形 175"/>
                <p:cNvSpPr/>
                <p:nvPr/>
              </p:nvSpPr>
              <p:spPr>
                <a:xfrm>
                  <a:off x="5838824" y="325754"/>
                  <a:ext cx="1003934" cy="1003934"/>
                </a:xfrm>
                <a:custGeom>
                  <a:avLst/>
                  <a:gdLst>
                    <a:gd name="connsiteX0" fmla="*/ 1003935 w 1003934"/>
                    <a:gd name="connsiteY0" fmla="*/ 501968 h 1003934"/>
                    <a:gd name="connsiteX1" fmla="*/ 501968 w 1003934"/>
                    <a:gd name="connsiteY1" fmla="*/ 1003935 h 1003934"/>
                    <a:gd name="connsiteX2" fmla="*/ 0 w 1003934"/>
                    <a:gd name="connsiteY2" fmla="*/ 501968 h 1003934"/>
                    <a:gd name="connsiteX3" fmla="*/ 501968 w 1003934"/>
                    <a:gd name="connsiteY3" fmla="*/ 0 h 1003934"/>
                    <a:gd name="connsiteX4" fmla="*/ 1003935 w 1003934"/>
                    <a:gd name="connsiteY4" fmla="*/ 501968 h 1003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3934" h="1003934">
                      <a:moveTo>
                        <a:pt x="1003935" y="501968"/>
                      </a:moveTo>
                      <a:cubicBezTo>
                        <a:pt x="1003935" y="779145"/>
                        <a:pt x="779145" y="1003935"/>
                        <a:pt x="501968" y="1003935"/>
                      </a:cubicBezTo>
                      <a:cubicBezTo>
                        <a:pt x="224790" y="1003935"/>
                        <a:pt x="0" y="779145"/>
                        <a:pt x="0" y="501968"/>
                      </a:cubicBezTo>
                      <a:cubicBezTo>
                        <a:pt x="0" y="224790"/>
                        <a:pt x="224790" y="0"/>
                        <a:pt x="501968" y="0"/>
                      </a:cubicBezTo>
                      <a:cubicBezTo>
                        <a:pt x="779145" y="0"/>
                        <a:pt x="1003935" y="224790"/>
                        <a:pt x="1003935" y="501968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5" name="任意多边形 176"/>
                <p:cNvSpPr/>
                <p:nvPr/>
              </p:nvSpPr>
              <p:spPr>
                <a:xfrm>
                  <a:off x="6095046" y="1067752"/>
                  <a:ext cx="716280" cy="716280"/>
                </a:xfrm>
                <a:custGeom>
                  <a:avLst/>
                  <a:gdLst>
                    <a:gd name="connsiteX0" fmla="*/ 716280 w 716280"/>
                    <a:gd name="connsiteY0" fmla="*/ 358140 h 716280"/>
                    <a:gd name="connsiteX1" fmla="*/ 358140 w 716280"/>
                    <a:gd name="connsiteY1" fmla="*/ 716280 h 716280"/>
                    <a:gd name="connsiteX2" fmla="*/ 0 w 716280"/>
                    <a:gd name="connsiteY2" fmla="*/ 358140 h 716280"/>
                    <a:gd name="connsiteX3" fmla="*/ 358140 w 716280"/>
                    <a:gd name="connsiteY3" fmla="*/ 0 h 716280"/>
                    <a:gd name="connsiteX4" fmla="*/ 716280 w 716280"/>
                    <a:gd name="connsiteY4" fmla="*/ 358140 h 716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6280" h="716280">
                      <a:moveTo>
                        <a:pt x="716280" y="358140"/>
                      </a:moveTo>
                      <a:cubicBezTo>
                        <a:pt x="716280" y="556260"/>
                        <a:pt x="556260" y="716280"/>
                        <a:pt x="358140" y="716280"/>
                      </a:cubicBezTo>
                      <a:cubicBezTo>
                        <a:pt x="160020" y="716280"/>
                        <a:pt x="0" y="556260"/>
                        <a:pt x="0" y="358140"/>
                      </a:cubicBezTo>
                      <a:cubicBezTo>
                        <a:pt x="0" y="160020"/>
                        <a:pt x="160020" y="0"/>
                        <a:pt x="358140" y="0"/>
                      </a:cubicBezTo>
                      <a:cubicBezTo>
                        <a:pt x="556260" y="0"/>
                        <a:pt x="716280" y="160020"/>
                        <a:pt x="716280" y="35814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" name="任意多边形 177"/>
                <p:cNvSpPr/>
                <p:nvPr/>
              </p:nvSpPr>
              <p:spPr>
                <a:xfrm>
                  <a:off x="5825489" y="1122045"/>
                  <a:ext cx="356234" cy="356234"/>
                </a:xfrm>
                <a:custGeom>
                  <a:avLst/>
                  <a:gdLst>
                    <a:gd name="connsiteX0" fmla="*/ 356235 w 356234"/>
                    <a:gd name="connsiteY0" fmla="*/ 178117 h 356234"/>
                    <a:gd name="connsiteX1" fmla="*/ 178117 w 356234"/>
                    <a:gd name="connsiteY1" fmla="*/ 356235 h 356234"/>
                    <a:gd name="connsiteX2" fmla="*/ 0 w 356234"/>
                    <a:gd name="connsiteY2" fmla="*/ 178117 h 356234"/>
                    <a:gd name="connsiteX3" fmla="*/ 178117 w 356234"/>
                    <a:gd name="connsiteY3" fmla="*/ 0 h 356234"/>
                    <a:gd name="connsiteX4" fmla="*/ 356235 w 356234"/>
                    <a:gd name="connsiteY4" fmla="*/ 178117 h 3562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234" h="356234">
                      <a:moveTo>
                        <a:pt x="356235" y="178117"/>
                      </a:moveTo>
                      <a:cubicBezTo>
                        <a:pt x="356235" y="276225"/>
                        <a:pt x="276225" y="356235"/>
                        <a:pt x="178117" y="356235"/>
                      </a:cubicBezTo>
                      <a:cubicBezTo>
                        <a:pt x="80010" y="356235"/>
                        <a:pt x="0" y="276225"/>
                        <a:pt x="0" y="178117"/>
                      </a:cubicBezTo>
                      <a:cubicBezTo>
                        <a:pt x="0" y="80010"/>
                        <a:pt x="80010" y="0"/>
                        <a:pt x="178117" y="0"/>
                      </a:cubicBezTo>
                      <a:cubicBezTo>
                        <a:pt x="277178" y="0"/>
                        <a:pt x="356235" y="80010"/>
                        <a:pt x="356235" y="178117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7" name="任意多边形 178"/>
                <p:cNvSpPr/>
                <p:nvPr/>
              </p:nvSpPr>
              <p:spPr>
                <a:xfrm>
                  <a:off x="6644639" y="1199197"/>
                  <a:ext cx="419100" cy="419099"/>
                </a:xfrm>
                <a:custGeom>
                  <a:avLst/>
                  <a:gdLst>
                    <a:gd name="connsiteX0" fmla="*/ 419100 w 419100"/>
                    <a:gd name="connsiteY0" fmla="*/ 209550 h 419099"/>
                    <a:gd name="connsiteX1" fmla="*/ 209550 w 419100"/>
                    <a:gd name="connsiteY1" fmla="*/ 419100 h 419099"/>
                    <a:gd name="connsiteX2" fmla="*/ 0 w 419100"/>
                    <a:gd name="connsiteY2" fmla="*/ 209550 h 419099"/>
                    <a:gd name="connsiteX3" fmla="*/ 209550 w 419100"/>
                    <a:gd name="connsiteY3" fmla="*/ 0 h 419099"/>
                    <a:gd name="connsiteX4" fmla="*/ 419100 w 419100"/>
                    <a:gd name="connsiteY4" fmla="*/ 209550 h 419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9100" h="419099">
                      <a:moveTo>
                        <a:pt x="419100" y="209550"/>
                      </a:moveTo>
                      <a:cubicBezTo>
                        <a:pt x="419100" y="325755"/>
                        <a:pt x="324803" y="419100"/>
                        <a:pt x="209550" y="419100"/>
                      </a:cubicBezTo>
                      <a:cubicBezTo>
                        <a:pt x="93345" y="419100"/>
                        <a:pt x="0" y="324803"/>
                        <a:pt x="0" y="209550"/>
                      </a:cubicBezTo>
                      <a:cubicBezTo>
                        <a:pt x="0" y="93345"/>
                        <a:pt x="94297" y="0"/>
                        <a:pt x="209550" y="0"/>
                      </a:cubicBezTo>
                      <a:cubicBezTo>
                        <a:pt x="325755" y="0"/>
                        <a:pt x="419100" y="94298"/>
                        <a:pt x="419100" y="20955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8" name="任意多边形 179"/>
                <p:cNvSpPr/>
                <p:nvPr/>
              </p:nvSpPr>
              <p:spPr>
                <a:xfrm>
                  <a:off x="5653087" y="1349692"/>
                  <a:ext cx="499109" cy="499110"/>
                </a:xfrm>
                <a:custGeom>
                  <a:avLst/>
                  <a:gdLst>
                    <a:gd name="connsiteX0" fmla="*/ 499110 w 499109"/>
                    <a:gd name="connsiteY0" fmla="*/ 249555 h 499110"/>
                    <a:gd name="connsiteX1" fmla="*/ 249555 w 499109"/>
                    <a:gd name="connsiteY1" fmla="*/ 499110 h 499110"/>
                    <a:gd name="connsiteX2" fmla="*/ 0 w 499109"/>
                    <a:gd name="connsiteY2" fmla="*/ 249555 h 499110"/>
                    <a:gd name="connsiteX3" fmla="*/ 249555 w 499109"/>
                    <a:gd name="connsiteY3" fmla="*/ 0 h 499110"/>
                    <a:gd name="connsiteX4" fmla="*/ 499110 w 499109"/>
                    <a:gd name="connsiteY4" fmla="*/ 249555 h 499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9109" h="499110">
                      <a:moveTo>
                        <a:pt x="499110" y="249555"/>
                      </a:moveTo>
                      <a:cubicBezTo>
                        <a:pt x="499110" y="387667"/>
                        <a:pt x="387668" y="499110"/>
                        <a:pt x="249555" y="499110"/>
                      </a:cubicBezTo>
                      <a:cubicBezTo>
                        <a:pt x="111443" y="499110"/>
                        <a:pt x="0" y="387667"/>
                        <a:pt x="0" y="249555"/>
                      </a:cubicBezTo>
                      <a:cubicBezTo>
                        <a:pt x="0" y="111442"/>
                        <a:pt x="111443" y="0"/>
                        <a:pt x="249555" y="0"/>
                      </a:cubicBezTo>
                      <a:cubicBezTo>
                        <a:pt x="386715" y="0"/>
                        <a:pt x="499110" y="111442"/>
                        <a:pt x="499110" y="249555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8" name="组合 7"/>
            <p:cNvGrpSpPr/>
            <p:nvPr/>
          </p:nvGrpSpPr>
          <p:grpSpPr>
            <a:xfrm>
              <a:off x="3252047" y="2196916"/>
              <a:ext cx="995191" cy="2508433"/>
              <a:chOff x="3216962" y="264294"/>
              <a:chExt cx="995191" cy="2508433"/>
            </a:xfrm>
          </p:grpSpPr>
          <p:sp>
            <p:nvSpPr>
              <p:cNvPr id="56" name="任意多边形 183"/>
              <p:cNvSpPr/>
              <p:nvPr/>
            </p:nvSpPr>
            <p:spPr>
              <a:xfrm>
                <a:off x="3281110" y="264294"/>
                <a:ext cx="868010" cy="2011450"/>
              </a:xfrm>
              <a:custGeom>
                <a:avLst/>
                <a:gdLst>
                  <a:gd name="connsiteX0" fmla="*/ 526032 w 868010"/>
                  <a:gd name="connsiteY0" fmla="*/ 1999798 h 2011450"/>
                  <a:gd name="connsiteX1" fmla="*/ 838452 w 868010"/>
                  <a:gd name="connsiteY1" fmla="*/ 1649278 h 2011450"/>
                  <a:gd name="connsiteX2" fmla="*/ 768919 w 868010"/>
                  <a:gd name="connsiteY2" fmla="*/ 172903 h 2011450"/>
                  <a:gd name="connsiteX3" fmla="*/ 105979 w 868010"/>
                  <a:gd name="connsiteY3" fmla="*/ 97656 h 2011450"/>
                  <a:gd name="connsiteX4" fmla="*/ 35495 w 868010"/>
                  <a:gd name="connsiteY4" fmla="*/ 1321618 h 2011450"/>
                  <a:gd name="connsiteX5" fmla="*/ 526032 w 868010"/>
                  <a:gd name="connsiteY5" fmla="*/ 1999798 h 201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8010" h="2011450">
                    <a:moveTo>
                      <a:pt x="526032" y="1999798"/>
                    </a:moveTo>
                    <a:cubicBezTo>
                      <a:pt x="643190" y="1975033"/>
                      <a:pt x="826069" y="1932171"/>
                      <a:pt x="838452" y="1649278"/>
                    </a:cubicBezTo>
                    <a:cubicBezTo>
                      <a:pt x="850835" y="1367338"/>
                      <a:pt x="927987" y="352926"/>
                      <a:pt x="768919" y="172903"/>
                    </a:cubicBezTo>
                    <a:cubicBezTo>
                      <a:pt x="609852" y="-8072"/>
                      <a:pt x="305052" y="-69032"/>
                      <a:pt x="105979" y="97656"/>
                    </a:cubicBezTo>
                    <a:cubicBezTo>
                      <a:pt x="-93093" y="263391"/>
                      <a:pt x="52639" y="1125403"/>
                      <a:pt x="35495" y="1321618"/>
                    </a:cubicBezTo>
                    <a:cubicBezTo>
                      <a:pt x="17397" y="1517833"/>
                      <a:pt x="42162" y="2100763"/>
                      <a:pt x="526032" y="19997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 184"/>
              <p:cNvSpPr/>
              <p:nvPr/>
            </p:nvSpPr>
            <p:spPr>
              <a:xfrm>
                <a:off x="3702315" y="1480537"/>
                <a:ext cx="489368" cy="580319"/>
              </a:xfrm>
              <a:custGeom>
                <a:avLst/>
                <a:gdLst>
                  <a:gd name="connsiteX0" fmla="*/ 230556 w 489368"/>
                  <a:gd name="connsiteY0" fmla="*/ 579720 h 580319"/>
                  <a:gd name="connsiteX1" fmla="*/ 462966 w 489368"/>
                  <a:gd name="connsiteY1" fmla="*/ 432083 h 580319"/>
                  <a:gd name="connsiteX2" fmla="*/ 380099 w 489368"/>
                  <a:gd name="connsiteY2" fmla="*/ 32985 h 580319"/>
                  <a:gd name="connsiteX3" fmla="*/ 21006 w 489368"/>
                  <a:gd name="connsiteY3" fmla="*/ 136808 h 580319"/>
                  <a:gd name="connsiteX4" fmla="*/ 230556 w 489368"/>
                  <a:gd name="connsiteY4" fmla="*/ 579720 h 580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9368" h="580319">
                    <a:moveTo>
                      <a:pt x="230556" y="579720"/>
                    </a:moveTo>
                    <a:cubicBezTo>
                      <a:pt x="335331" y="573053"/>
                      <a:pt x="423914" y="542573"/>
                      <a:pt x="462966" y="432083"/>
                    </a:cubicBezTo>
                    <a:cubicBezTo>
                      <a:pt x="502019" y="321593"/>
                      <a:pt x="514401" y="113948"/>
                      <a:pt x="380099" y="32985"/>
                    </a:cubicBezTo>
                    <a:cubicBezTo>
                      <a:pt x="246749" y="-47977"/>
                      <a:pt x="58154" y="32985"/>
                      <a:pt x="21006" y="136808"/>
                    </a:cubicBezTo>
                    <a:cubicBezTo>
                      <a:pt x="-16141" y="241583"/>
                      <a:pt x="-33286" y="596865"/>
                      <a:pt x="230556" y="57972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 185"/>
              <p:cNvSpPr/>
              <p:nvPr/>
            </p:nvSpPr>
            <p:spPr>
              <a:xfrm>
                <a:off x="3653789" y="948689"/>
                <a:ext cx="150495" cy="1824037"/>
              </a:xfrm>
              <a:custGeom>
                <a:avLst/>
                <a:gdLst>
                  <a:gd name="connsiteX0" fmla="*/ 150495 w 150495"/>
                  <a:gd name="connsiteY0" fmla="*/ 1824038 h 1824037"/>
                  <a:gd name="connsiteX1" fmla="*/ 0 w 150495"/>
                  <a:gd name="connsiteY1" fmla="*/ 1824038 h 1824037"/>
                  <a:gd name="connsiteX2" fmla="*/ 51435 w 150495"/>
                  <a:gd name="connsiteY2" fmla="*/ 0 h 1824037"/>
                  <a:gd name="connsiteX3" fmla="*/ 99060 w 150495"/>
                  <a:gd name="connsiteY3" fmla="*/ 0 h 1824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495" h="1824037">
                    <a:moveTo>
                      <a:pt x="150495" y="1824038"/>
                    </a:moveTo>
                    <a:lnTo>
                      <a:pt x="0" y="1824038"/>
                    </a:lnTo>
                    <a:lnTo>
                      <a:pt x="51435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 186"/>
              <p:cNvSpPr/>
              <p:nvPr/>
            </p:nvSpPr>
            <p:spPr>
              <a:xfrm>
                <a:off x="3443804" y="838200"/>
                <a:ext cx="284279" cy="289560"/>
              </a:xfrm>
              <a:custGeom>
                <a:avLst/>
                <a:gdLst>
                  <a:gd name="connsiteX0" fmla="*/ 284280 w 284279"/>
                  <a:gd name="connsiteY0" fmla="*/ 235267 h 289560"/>
                  <a:gd name="connsiteX1" fmla="*/ 64252 w 284279"/>
                  <a:gd name="connsiteY1" fmla="*/ 0 h 289560"/>
                  <a:gd name="connsiteX2" fmla="*/ 435 w 284279"/>
                  <a:gd name="connsiteY2" fmla="*/ 20002 h 289560"/>
                  <a:gd name="connsiteX3" fmla="*/ 281422 w 284279"/>
                  <a:gd name="connsiteY3" fmla="*/ 289560 h 289560"/>
                  <a:gd name="connsiteX4" fmla="*/ 284280 w 284279"/>
                  <a:gd name="connsiteY4" fmla="*/ 235267 h 289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60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 187"/>
              <p:cNvSpPr/>
              <p:nvPr/>
            </p:nvSpPr>
            <p:spPr>
              <a:xfrm>
                <a:off x="3443804" y="1560195"/>
                <a:ext cx="284279" cy="289559"/>
              </a:xfrm>
              <a:custGeom>
                <a:avLst/>
                <a:gdLst>
                  <a:gd name="connsiteX0" fmla="*/ 284280 w 284279"/>
                  <a:gd name="connsiteY0" fmla="*/ 235267 h 289559"/>
                  <a:gd name="connsiteX1" fmla="*/ 64252 w 284279"/>
                  <a:gd name="connsiteY1" fmla="*/ 0 h 289559"/>
                  <a:gd name="connsiteX2" fmla="*/ 435 w 284279"/>
                  <a:gd name="connsiteY2" fmla="*/ 20002 h 289559"/>
                  <a:gd name="connsiteX3" fmla="*/ 281422 w 284279"/>
                  <a:gd name="connsiteY3" fmla="*/ 289560 h 289559"/>
                  <a:gd name="connsiteX4" fmla="*/ 284280 w 284279"/>
                  <a:gd name="connsiteY4" fmla="*/ 235267 h 289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59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 188"/>
              <p:cNvSpPr/>
              <p:nvPr/>
            </p:nvSpPr>
            <p:spPr>
              <a:xfrm>
                <a:off x="3724274" y="1116329"/>
                <a:ext cx="317182" cy="255270"/>
              </a:xfrm>
              <a:custGeom>
                <a:avLst/>
                <a:gdLst>
                  <a:gd name="connsiteX0" fmla="*/ 5715 w 317182"/>
                  <a:gd name="connsiteY0" fmla="*/ 200978 h 255270"/>
                  <a:gd name="connsiteX1" fmla="*/ 257175 w 317182"/>
                  <a:gd name="connsiteY1" fmla="*/ 0 h 255270"/>
                  <a:gd name="connsiteX2" fmla="*/ 317183 w 317182"/>
                  <a:gd name="connsiteY2" fmla="*/ 29528 h 255270"/>
                  <a:gd name="connsiteX3" fmla="*/ 0 w 317182"/>
                  <a:gd name="connsiteY3" fmla="*/ 255270 h 255270"/>
                  <a:gd name="connsiteX4" fmla="*/ 5715 w 317182"/>
                  <a:gd name="connsiteY4" fmla="*/ 200978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7182" h="255270">
                    <a:moveTo>
                      <a:pt x="5715" y="200978"/>
                    </a:moveTo>
                    <a:cubicBezTo>
                      <a:pt x="5715" y="200978"/>
                      <a:pt x="255270" y="248603"/>
                      <a:pt x="257175" y="0"/>
                    </a:cubicBezTo>
                    <a:lnTo>
                      <a:pt x="317183" y="29528"/>
                    </a:lnTo>
                    <a:cubicBezTo>
                      <a:pt x="317183" y="29528"/>
                      <a:pt x="308610" y="252413"/>
                      <a:pt x="0" y="255270"/>
                    </a:cubicBezTo>
                    <a:lnTo>
                      <a:pt x="5715" y="2009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 189"/>
              <p:cNvSpPr/>
              <p:nvPr/>
            </p:nvSpPr>
            <p:spPr>
              <a:xfrm>
                <a:off x="3741419" y="1302067"/>
                <a:ext cx="199239" cy="294322"/>
              </a:xfrm>
              <a:custGeom>
                <a:avLst/>
                <a:gdLst>
                  <a:gd name="connsiteX0" fmla="*/ 0 w 199239"/>
                  <a:gd name="connsiteY0" fmla="*/ 239078 h 294322"/>
                  <a:gd name="connsiteX1" fmla="*/ 155257 w 199239"/>
                  <a:gd name="connsiteY1" fmla="*/ 953 h 294322"/>
                  <a:gd name="connsiteX2" fmla="*/ 199072 w 199239"/>
                  <a:gd name="connsiteY2" fmla="*/ 0 h 294322"/>
                  <a:gd name="connsiteX3" fmla="*/ 952 w 199239"/>
                  <a:gd name="connsiteY3" fmla="*/ 294323 h 294322"/>
                  <a:gd name="connsiteX4" fmla="*/ 0 w 199239"/>
                  <a:gd name="connsiteY4" fmla="*/ 239078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8"/>
                    </a:moveTo>
                    <a:cubicBezTo>
                      <a:pt x="0" y="239078"/>
                      <a:pt x="175260" y="245745"/>
                      <a:pt x="155257" y="953"/>
                    </a:cubicBezTo>
                    <a:lnTo>
                      <a:pt x="199072" y="0"/>
                    </a:lnTo>
                    <a:cubicBezTo>
                      <a:pt x="199072" y="0"/>
                      <a:pt x="212408" y="240983"/>
                      <a:pt x="952" y="294323"/>
                    </a:cubicBezTo>
                    <a:lnTo>
                      <a:pt x="0" y="2390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 190"/>
              <p:cNvSpPr/>
              <p:nvPr/>
            </p:nvSpPr>
            <p:spPr>
              <a:xfrm>
                <a:off x="3741419" y="1663065"/>
                <a:ext cx="199239" cy="294322"/>
              </a:xfrm>
              <a:custGeom>
                <a:avLst/>
                <a:gdLst>
                  <a:gd name="connsiteX0" fmla="*/ 0 w 199239"/>
                  <a:gd name="connsiteY0" fmla="*/ 239077 h 294322"/>
                  <a:gd name="connsiteX1" fmla="*/ 155257 w 199239"/>
                  <a:gd name="connsiteY1" fmla="*/ 952 h 294322"/>
                  <a:gd name="connsiteX2" fmla="*/ 199072 w 199239"/>
                  <a:gd name="connsiteY2" fmla="*/ 0 h 294322"/>
                  <a:gd name="connsiteX3" fmla="*/ 952 w 199239"/>
                  <a:gd name="connsiteY3" fmla="*/ 294322 h 294322"/>
                  <a:gd name="connsiteX4" fmla="*/ 0 w 199239"/>
                  <a:gd name="connsiteY4" fmla="*/ 239077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7"/>
                    </a:moveTo>
                    <a:cubicBezTo>
                      <a:pt x="0" y="239077"/>
                      <a:pt x="175260" y="245745"/>
                      <a:pt x="155257" y="952"/>
                    </a:cubicBezTo>
                    <a:lnTo>
                      <a:pt x="199072" y="0"/>
                    </a:lnTo>
                    <a:cubicBezTo>
                      <a:pt x="199072" y="0"/>
                      <a:pt x="212408" y="240982"/>
                      <a:pt x="952" y="294322"/>
                    </a:cubicBezTo>
                    <a:lnTo>
                      <a:pt x="0" y="23907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 191"/>
              <p:cNvSpPr/>
              <p:nvPr/>
            </p:nvSpPr>
            <p:spPr>
              <a:xfrm>
                <a:off x="3216962" y="326204"/>
                <a:ext cx="488947" cy="660283"/>
              </a:xfrm>
              <a:custGeom>
                <a:avLst/>
                <a:gdLst>
                  <a:gd name="connsiteX0" fmla="*/ 230135 w 488947"/>
                  <a:gd name="connsiteY0" fmla="*/ 659633 h 660283"/>
                  <a:gd name="connsiteX1" fmla="*/ 462545 w 488947"/>
                  <a:gd name="connsiteY1" fmla="*/ 491993 h 660283"/>
                  <a:gd name="connsiteX2" fmla="*/ 379677 w 488947"/>
                  <a:gd name="connsiteY2" fmla="*/ 37650 h 660283"/>
                  <a:gd name="connsiteX3" fmla="*/ 20585 w 488947"/>
                  <a:gd name="connsiteY3" fmla="*/ 155760 h 660283"/>
                  <a:gd name="connsiteX4" fmla="*/ 230135 w 488947"/>
                  <a:gd name="connsiteY4" fmla="*/ 659633 h 660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8947" h="660283">
                    <a:moveTo>
                      <a:pt x="230135" y="659633"/>
                    </a:moveTo>
                    <a:cubicBezTo>
                      <a:pt x="334910" y="652013"/>
                      <a:pt x="423492" y="617723"/>
                      <a:pt x="462545" y="491993"/>
                    </a:cubicBezTo>
                    <a:cubicBezTo>
                      <a:pt x="501597" y="366263"/>
                      <a:pt x="513980" y="130043"/>
                      <a:pt x="379677" y="37650"/>
                    </a:cubicBezTo>
                    <a:cubicBezTo>
                      <a:pt x="246327" y="-54742"/>
                      <a:pt x="57732" y="37650"/>
                      <a:pt x="20585" y="155760"/>
                    </a:cubicBezTo>
                    <a:cubicBezTo>
                      <a:pt x="-15610" y="273870"/>
                      <a:pt x="-33708" y="678683"/>
                      <a:pt x="230135" y="659633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 192"/>
              <p:cNvSpPr/>
              <p:nvPr/>
            </p:nvSpPr>
            <p:spPr>
              <a:xfrm>
                <a:off x="3871574" y="708915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 193"/>
              <p:cNvSpPr/>
              <p:nvPr/>
            </p:nvSpPr>
            <p:spPr>
              <a:xfrm>
                <a:off x="3242924" y="1171830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4118451" y="4450079"/>
              <a:ext cx="707707" cy="256222"/>
              <a:chOff x="4083366" y="2517457"/>
              <a:chExt cx="707707" cy="256222"/>
            </a:xfrm>
          </p:grpSpPr>
          <p:sp>
            <p:nvSpPr>
              <p:cNvPr id="52" name="任意多边形 196"/>
              <p:cNvSpPr/>
              <p:nvPr/>
            </p:nvSpPr>
            <p:spPr>
              <a:xfrm>
                <a:off x="4195762" y="2517457"/>
                <a:ext cx="510540" cy="255270"/>
              </a:xfrm>
              <a:custGeom>
                <a:avLst/>
                <a:gdLst>
                  <a:gd name="connsiteX0" fmla="*/ 255270 w 510540"/>
                  <a:gd name="connsiteY0" fmla="*/ 0 h 255270"/>
                  <a:gd name="connsiteX1" fmla="*/ 0 w 510540"/>
                  <a:gd name="connsiteY1" fmla="*/ 255270 h 255270"/>
                  <a:gd name="connsiteX2" fmla="*/ 510540 w 510540"/>
                  <a:gd name="connsiteY2" fmla="*/ 255270 h 255270"/>
                  <a:gd name="connsiteX3" fmla="*/ 255270 w 510540"/>
                  <a:gd name="connsiteY3" fmla="*/ 0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0540" h="255270">
                    <a:moveTo>
                      <a:pt x="255270" y="0"/>
                    </a:moveTo>
                    <a:cubicBezTo>
                      <a:pt x="114300" y="0"/>
                      <a:pt x="0" y="114300"/>
                      <a:pt x="0" y="255270"/>
                    </a:cubicBezTo>
                    <a:lnTo>
                      <a:pt x="510540" y="255270"/>
                    </a:lnTo>
                    <a:cubicBezTo>
                      <a:pt x="510540" y="114300"/>
                      <a:pt x="396240" y="0"/>
                      <a:pt x="255270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 197"/>
              <p:cNvSpPr/>
              <p:nvPr/>
            </p:nvSpPr>
            <p:spPr>
              <a:xfrm>
                <a:off x="4083366" y="2619375"/>
                <a:ext cx="307657" cy="154305"/>
              </a:xfrm>
              <a:custGeom>
                <a:avLst/>
                <a:gdLst>
                  <a:gd name="connsiteX0" fmla="*/ 154305 w 307657"/>
                  <a:gd name="connsiteY0" fmla="*/ 0 h 154305"/>
                  <a:gd name="connsiteX1" fmla="*/ 0 w 307657"/>
                  <a:gd name="connsiteY1" fmla="*/ 154305 h 154305"/>
                  <a:gd name="connsiteX2" fmla="*/ 307658 w 307657"/>
                  <a:gd name="connsiteY2" fmla="*/ 154305 h 154305"/>
                  <a:gd name="connsiteX3" fmla="*/ 154305 w 307657"/>
                  <a:gd name="connsiteY3" fmla="*/ 0 h 154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7657" h="154305">
                    <a:moveTo>
                      <a:pt x="154305" y="0"/>
                    </a:moveTo>
                    <a:cubicBezTo>
                      <a:pt x="69533" y="0"/>
                      <a:pt x="0" y="68580"/>
                      <a:pt x="0" y="154305"/>
                    </a:cubicBezTo>
                    <a:lnTo>
                      <a:pt x="307658" y="154305"/>
                    </a:lnTo>
                    <a:cubicBezTo>
                      <a:pt x="307658" y="68580"/>
                      <a:pt x="239078" y="0"/>
                      <a:pt x="15430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 198"/>
              <p:cNvSpPr/>
              <p:nvPr/>
            </p:nvSpPr>
            <p:spPr>
              <a:xfrm>
                <a:off x="4277677" y="2664142"/>
                <a:ext cx="217169" cy="108584"/>
              </a:xfrm>
              <a:custGeom>
                <a:avLst/>
                <a:gdLst>
                  <a:gd name="connsiteX0" fmla="*/ 108585 w 217169"/>
                  <a:gd name="connsiteY0" fmla="*/ 0 h 108584"/>
                  <a:gd name="connsiteX1" fmla="*/ 0 w 217169"/>
                  <a:gd name="connsiteY1" fmla="*/ 108585 h 108584"/>
                  <a:gd name="connsiteX2" fmla="*/ 217170 w 217169"/>
                  <a:gd name="connsiteY2" fmla="*/ 108585 h 108584"/>
                  <a:gd name="connsiteX3" fmla="*/ 108585 w 217169"/>
                  <a:gd name="connsiteY3" fmla="*/ 0 h 108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7169" h="108584">
                    <a:moveTo>
                      <a:pt x="108585" y="0"/>
                    </a:moveTo>
                    <a:cubicBezTo>
                      <a:pt x="48577" y="0"/>
                      <a:pt x="0" y="48577"/>
                      <a:pt x="0" y="108585"/>
                    </a:cubicBezTo>
                    <a:lnTo>
                      <a:pt x="217170" y="108585"/>
                    </a:lnTo>
                    <a:cubicBezTo>
                      <a:pt x="217170" y="48577"/>
                      <a:pt x="168592" y="0"/>
                      <a:pt x="10858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 199"/>
              <p:cNvSpPr/>
              <p:nvPr/>
            </p:nvSpPr>
            <p:spPr>
              <a:xfrm>
                <a:off x="4589144" y="2671762"/>
                <a:ext cx="201929" cy="100965"/>
              </a:xfrm>
              <a:custGeom>
                <a:avLst/>
                <a:gdLst>
                  <a:gd name="connsiteX0" fmla="*/ 100965 w 201929"/>
                  <a:gd name="connsiteY0" fmla="*/ 0 h 100965"/>
                  <a:gd name="connsiteX1" fmla="*/ 0 w 201929"/>
                  <a:gd name="connsiteY1" fmla="*/ 100965 h 100965"/>
                  <a:gd name="connsiteX2" fmla="*/ 201930 w 201929"/>
                  <a:gd name="connsiteY2" fmla="*/ 100965 h 100965"/>
                  <a:gd name="connsiteX3" fmla="*/ 100965 w 201929"/>
                  <a:gd name="connsiteY3" fmla="*/ 0 h 100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1929" h="100965">
                    <a:moveTo>
                      <a:pt x="100965" y="0"/>
                    </a:moveTo>
                    <a:cubicBezTo>
                      <a:pt x="45720" y="0"/>
                      <a:pt x="0" y="44768"/>
                      <a:pt x="0" y="100965"/>
                    </a:cubicBezTo>
                    <a:lnTo>
                      <a:pt x="201930" y="100965"/>
                    </a:lnTo>
                    <a:cubicBezTo>
                      <a:pt x="201930" y="45720"/>
                      <a:pt x="157163" y="0"/>
                      <a:pt x="100965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7536022" y="4531994"/>
              <a:ext cx="482917" cy="174307"/>
              <a:chOff x="7500937" y="2599372"/>
              <a:chExt cx="482917" cy="174307"/>
            </a:xfrm>
          </p:grpSpPr>
          <p:sp>
            <p:nvSpPr>
              <p:cNvPr id="48" name="任意多边形 201"/>
              <p:cNvSpPr/>
              <p:nvPr/>
            </p:nvSpPr>
            <p:spPr>
              <a:xfrm>
                <a:off x="7578089" y="2599372"/>
                <a:ext cx="347662" cy="174307"/>
              </a:xfrm>
              <a:custGeom>
                <a:avLst/>
                <a:gdLst>
                  <a:gd name="connsiteX0" fmla="*/ 174308 w 347662"/>
                  <a:gd name="connsiteY0" fmla="*/ 0 h 174307"/>
                  <a:gd name="connsiteX1" fmla="*/ 0 w 347662"/>
                  <a:gd name="connsiteY1" fmla="*/ 174308 h 174307"/>
                  <a:gd name="connsiteX2" fmla="*/ 347662 w 347662"/>
                  <a:gd name="connsiteY2" fmla="*/ 174308 h 174307"/>
                  <a:gd name="connsiteX3" fmla="*/ 174308 w 347662"/>
                  <a:gd name="connsiteY3" fmla="*/ 0 h 17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7662" h="174307">
                    <a:moveTo>
                      <a:pt x="174308" y="0"/>
                    </a:moveTo>
                    <a:cubicBezTo>
                      <a:pt x="78105" y="0"/>
                      <a:pt x="0" y="78105"/>
                      <a:pt x="0" y="174308"/>
                    </a:cubicBezTo>
                    <a:lnTo>
                      <a:pt x="347662" y="174308"/>
                    </a:lnTo>
                    <a:cubicBezTo>
                      <a:pt x="347662" y="77153"/>
                      <a:pt x="269558" y="0"/>
                      <a:pt x="174308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 202"/>
              <p:cNvSpPr/>
              <p:nvPr/>
            </p:nvSpPr>
            <p:spPr>
              <a:xfrm>
                <a:off x="7500937" y="2667952"/>
                <a:ext cx="209550" cy="104775"/>
              </a:xfrm>
              <a:custGeom>
                <a:avLst/>
                <a:gdLst>
                  <a:gd name="connsiteX0" fmla="*/ 104775 w 209550"/>
                  <a:gd name="connsiteY0" fmla="*/ 0 h 104775"/>
                  <a:gd name="connsiteX1" fmla="*/ 0 w 209550"/>
                  <a:gd name="connsiteY1" fmla="*/ 104775 h 104775"/>
                  <a:gd name="connsiteX2" fmla="*/ 209550 w 209550"/>
                  <a:gd name="connsiteY2" fmla="*/ 104775 h 104775"/>
                  <a:gd name="connsiteX3" fmla="*/ 104775 w 209550"/>
                  <a:gd name="connsiteY3" fmla="*/ 0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50" h="104775">
                    <a:moveTo>
                      <a:pt x="104775" y="0"/>
                    </a:moveTo>
                    <a:cubicBezTo>
                      <a:pt x="46672" y="0"/>
                      <a:pt x="0" y="46672"/>
                      <a:pt x="0" y="104775"/>
                    </a:cubicBezTo>
                    <a:lnTo>
                      <a:pt x="209550" y="104775"/>
                    </a:lnTo>
                    <a:cubicBezTo>
                      <a:pt x="209550" y="47625"/>
                      <a:pt x="162877" y="0"/>
                      <a:pt x="10477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 203"/>
              <p:cNvSpPr/>
              <p:nvPr/>
            </p:nvSpPr>
            <p:spPr>
              <a:xfrm>
                <a:off x="7633334" y="2699384"/>
                <a:ext cx="147637" cy="74295"/>
              </a:xfrm>
              <a:custGeom>
                <a:avLst/>
                <a:gdLst>
                  <a:gd name="connsiteX0" fmla="*/ 74295 w 147637"/>
                  <a:gd name="connsiteY0" fmla="*/ 0 h 74295"/>
                  <a:gd name="connsiteX1" fmla="*/ 0 w 147637"/>
                  <a:gd name="connsiteY1" fmla="*/ 74295 h 74295"/>
                  <a:gd name="connsiteX2" fmla="*/ 147638 w 147637"/>
                  <a:gd name="connsiteY2" fmla="*/ 74295 h 74295"/>
                  <a:gd name="connsiteX3" fmla="*/ 74295 w 147637"/>
                  <a:gd name="connsiteY3" fmla="*/ 0 h 74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7637" h="74295">
                    <a:moveTo>
                      <a:pt x="74295" y="0"/>
                    </a:moveTo>
                    <a:cubicBezTo>
                      <a:pt x="33338" y="0"/>
                      <a:pt x="0" y="33338"/>
                      <a:pt x="0" y="74295"/>
                    </a:cubicBezTo>
                    <a:lnTo>
                      <a:pt x="147638" y="74295"/>
                    </a:lnTo>
                    <a:cubicBezTo>
                      <a:pt x="147638" y="32385"/>
                      <a:pt x="115252" y="0"/>
                      <a:pt x="7429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 204"/>
              <p:cNvSpPr/>
              <p:nvPr/>
            </p:nvSpPr>
            <p:spPr>
              <a:xfrm>
                <a:off x="7846694" y="2704147"/>
                <a:ext cx="137160" cy="68580"/>
              </a:xfrm>
              <a:custGeom>
                <a:avLst/>
                <a:gdLst>
                  <a:gd name="connsiteX0" fmla="*/ 68580 w 137160"/>
                  <a:gd name="connsiteY0" fmla="*/ 0 h 68580"/>
                  <a:gd name="connsiteX1" fmla="*/ 0 w 137160"/>
                  <a:gd name="connsiteY1" fmla="*/ 68580 h 68580"/>
                  <a:gd name="connsiteX2" fmla="*/ 137160 w 137160"/>
                  <a:gd name="connsiteY2" fmla="*/ 68580 h 68580"/>
                  <a:gd name="connsiteX3" fmla="*/ 68580 w 137160"/>
                  <a:gd name="connsiteY3" fmla="*/ 0 h 68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160" h="68580">
                    <a:moveTo>
                      <a:pt x="68580" y="0"/>
                    </a:moveTo>
                    <a:cubicBezTo>
                      <a:pt x="30480" y="0"/>
                      <a:pt x="0" y="30480"/>
                      <a:pt x="0" y="68580"/>
                    </a:cubicBezTo>
                    <a:lnTo>
                      <a:pt x="137160" y="68580"/>
                    </a:lnTo>
                    <a:cubicBezTo>
                      <a:pt x="137160" y="30480"/>
                      <a:pt x="105728" y="0"/>
                      <a:pt x="6858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4761389" y="3611879"/>
              <a:ext cx="647700" cy="1093470"/>
              <a:chOff x="4726304" y="1679257"/>
              <a:chExt cx="647700" cy="1093470"/>
            </a:xfrm>
          </p:grpSpPr>
          <p:sp>
            <p:nvSpPr>
              <p:cNvPr id="44" name="任意多边形 207"/>
              <p:cNvSpPr/>
              <p:nvPr/>
            </p:nvSpPr>
            <p:spPr>
              <a:xfrm>
                <a:off x="5007291" y="2360295"/>
                <a:ext cx="85725" cy="412432"/>
              </a:xfrm>
              <a:custGeom>
                <a:avLst/>
                <a:gdLst>
                  <a:gd name="connsiteX0" fmla="*/ 0 w 85725"/>
                  <a:gd name="connsiteY0" fmla="*/ 412433 h 412432"/>
                  <a:gd name="connsiteX1" fmla="*/ 85725 w 85725"/>
                  <a:gd name="connsiteY1" fmla="*/ 412433 h 412432"/>
                  <a:gd name="connsiteX2" fmla="*/ 75248 w 85725"/>
                  <a:gd name="connsiteY2" fmla="*/ 0 h 412432"/>
                  <a:gd name="connsiteX3" fmla="*/ 15240 w 85725"/>
                  <a:gd name="connsiteY3" fmla="*/ 0 h 412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5" h="412432">
                    <a:moveTo>
                      <a:pt x="0" y="412433"/>
                    </a:moveTo>
                    <a:lnTo>
                      <a:pt x="85725" y="412433"/>
                    </a:lnTo>
                    <a:lnTo>
                      <a:pt x="75248" y="0"/>
                    </a:lnTo>
                    <a:lnTo>
                      <a:pt x="1524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 208"/>
              <p:cNvSpPr/>
              <p:nvPr/>
            </p:nvSpPr>
            <p:spPr>
              <a:xfrm>
                <a:off x="5028246" y="2368867"/>
                <a:ext cx="172031" cy="227647"/>
              </a:xfrm>
              <a:custGeom>
                <a:avLst/>
                <a:gdLst>
                  <a:gd name="connsiteX0" fmla="*/ 953 w 172031"/>
                  <a:gd name="connsiteY0" fmla="*/ 180023 h 227647"/>
                  <a:gd name="connsiteX1" fmla="*/ 125730 w 172031"/>
                  <a:gd name="connsiteY1" fmla="*/ 0 h 227647"/>
                  <a:gd name="connsiteX2" fmla="*/ 170497 w 172031"/>
                  <a:gd name="connsiteY2" fmla="*/ 7620 h 227647"/>
                  <a:gd name="connsiteX3" fmla="*/ 0 w 172031"/>
                  <a:gd name="connsiteY3" fmla="*/ 227648 h 227647"/>
                  <a:gd name="connsiteX4" fmla="*/ 953 w 172031"/>
                  <a:gd name="connsiteY4" fmla="*/ 180023 h 227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2031" h="227647">
                    <a:moveTo>
                      <a:pt x="953" y="180023"/>
                    </a:moveTo>
                    <a:cubicBezTo>
                      <a:pt x="953" y="180023"/>
                      <a:pt x="172403" y="161925"/>
                      <a:pt x="125730" y="0"/>
                    </a:cubicBezTo>
                    <a:lnTo>
                      <a:pt x="170497" y="7620"/>
                    </a:lnTo>
                    <a:cubicBezTo>
                      <a:pt x="170497" y="7620"/>
                      <a:pt x="200025" y="164783"/>
                      <a:pt x="0" y="227648"/>
                    </a:cubicBezTo>
                    <a:lnTo>
                      <a:pt x="953" y="180023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 209"/>
              <p:cNvSpPr/>
              <p:nvPr/>
            </p:nvSpPr>
            <p:spPr>
              <a:xfrm>
                <a:off x="4907258" y="2329815"/>
                <a:ext cx="142896" cy="184784"/>
              </a:xfrm>
              <a:custGeom>
                <a:avLst/>
                <a:gdLst>
                  <a:gd name="connsiteX0" fmla="*/ 36216 w 142896"/>
                  <a:gd name="connsiteY0" fmla="*/ 12382 h 184784"/>
                  <a:gd name="connsiteX1" fmla="*/ 142896 w 142896"/>
                  <a:gd name="connsiteY1" fmla="*/ 152400 h 184784"/>
                  <a:gd name="connsiteX2" fmla="*/ 125751 w 142896"/>
                  <a:gd name="connsiteY2" fmla="*/ 184785 h 184784"/>
                  <a:gd name="connsiteX3" fmla="*/ 21 w 142896"/>
                  <a:gd name="connsiteY3" fmla="*/ 0 h 184784"/>
                  <a:gd name="connsiteX4" fmla="*/ 36216 w 142896"/>
                  <a:gd name="connsiteY4" fmla="*/ 12382 h 184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896" h="184784">
                    <a:moveTo>
                      <a:pt x="36216" y="12382"/>
                    </a:moveTo>
                    <a:cubicBezTo>
                      <a:pt x="36216" y="12382"/>
                      <a:pt x="7641" y="148590"/>
                      <a:pt x="142896" y="152400"/>
                    </a:cubicBezTo>
                    <a:lnTo>
                      <a:pt x="125751" y="184785"/>
                    </a:lnTo>
                    <a:cubicBezTo>
                      <a:pt x="125751" y="184785"/>
                      <a:pt x="-1884" y="168592"/>
                      <a:pt x="21" y="0"/>
                    </a:cubicBezTo>
                    <a:lnTo>
                      <a:pt x="36216" y="12382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 210"/>
              <p:cNvSpPr/>
              <p:nvPr/>
            </p:nvSpPr>
            <p:spPr>
              <a:xfrm>
                <a:off x="4726304" y="1679257"/>
                <a:ext cx="647700" cy="770572"/>
              </a:xfrm>
              <a:custGeom>
                <a:avLst/>
                <a:gdLst>
                  <a:gd name="connsiteX0" fmla="*/ 647700 w 647700"/>
                  <a:gd name="connsiteY0" fmla="*/ 425767 h 770572"/>
                  <a:gd name="connsiteX1" fmla="*/ 323850 w 647700"/>
                  <a:gd name="connsiteY1" fmla="*/ 770572 h 770572"/>
                  <a:gd name="connsiteX2" fmla="*/ 0 w 647700"/>
                  <a:gd name="connsiteY2" fmla="*/ 425767 h 770572"/>
                  <a:gd name="connsiteX3" fmla="*/ 323850 w 647700"/>
                  <a:gd name="connsiteY3" fmla="*/ 0 h 770572"/>
                  <a:gd name="connsiteX4" fmla="*/ 647700 w 647700"/>
                  <a:gd name="connsiteY4" fmla="*/ 425767 h 770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7700" h="770572">
                    <a:moveTo>
                      <a:pt x="647700" y="425767"/>
                    </a:moveTo>
                    <a:cubicBezTo>
                      <a:pt x="647700" y="661035"/>
                      <a:pt x="502920" y="770572"/>
                      <a:pt x="323850" y="770572"/>
                    </a:cubicBezTo>
                    <a:cubicBezTo>
                      <a:pt x="144780" y="770572"/>
                      <a:pt x="0" y="661988"/>
                      <a:pt x="0" y="425767"/>
                    </a:cubicBezTo>
                    <a:cubicBezTo>
                      <a:pt x="0" y="190500"/>
                      <a:pt x="144780" y="0"/>
                      <a:pt x="323850" y="0"/>
                    </a:cubicBezTo>
                    <a:cubicBezTo>
                      <a:pt x="502920" y="0"/>
                      <a:pt x="647700" y="190500"/>
                      <a:pt x="647700" y="425767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" name="组合 11"/>
            <p:cNvGrpSpPr/>
            <p:nvPr/>
          </p:nvGrpSpPr>
          <p:grpSpPr>
            <a:xfrm>
              <a:off x="6647339" y="4319587"/>
              <a:ext cx="757237" cy="386715"/>
              <a:chOff x="6612254" y="2386965"/>
              <a:chExt cx="757237" cy="386715"/>
            </a:xfrm>
          </p:grpSpPr>
          <p:sp>
            <p:nvSpPr>
              <p:cNvPr id="40" name="任意多边形 213"/>
              <p:cNvSpPr/>
              <p:nvPr/>
            </p:nvSpPr>
            <p:spPr>
              <a:xfrm>
                <a:off x="6612254" y="2611754"/>
                <a:ext cx="181927" cy="160972"/>
              </a:xfrm>
              <a:custGeom>
                <a:avLst/>
                <a:gdLst>
                  <a:gd name="connsiteX0" fmla="*/ 181927 w 181927"/>
                  <a:gd name="connsiteY0" fmla="*/ 18098 h 160972"/>
                  <a:gd name="connsiteX1" fmla="*/ 178117 w 181927"/>
                  <a:gd name="connsiteY1" fmla="*/ 4763 h 160972"/>
                  <a:gd name="connsiteX2" fmla="*/ 147638 w 181927"/>
                  <a:gd name="connsiteY2" fmla="*/ 0 h 160972"/>
                  <a:gd name="connsiteX3" fmla="*/ 0 w 181927"/>
                  <a:gd name="connsiteY3" fmla="*/ 160973 h 160972"/>
                  <a:gd name="connsiteX4" fmla="*/ 87630 w 181927"/>
                  <a:gd name="connsiteY4" fmla="*/ 160973 h 160972"/>
                  <a:gd name="connsiteX5" fmla="*/ 181927 w 181927"/>
                  <a:gd name="connsiteY5" fmla="*/ 18098 h 160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1927" h="160972">
                    <a:moveTo>
                      <a:pt x="181927" y="18098"/>
                    </a:moveTo>
                    <a:cubicBezTo>
                      <a:pt x="180975" y="14288"/>
                      <a:pt x="179070" y="9525"/>
                      <a:pt x="178117" y="4763"/>
                    </a:cubicBezTo>
                    <a:cubicBezTo>
                      <a:pt x="168592" y="1905"/>
                      <a:pt x="158115" y="0"/>
                      <a:pt x="147638" y="0"/>
                    </a:cubicBezTo>
                    <a:cubicBezTo>
                      <a:pt x="79057" y="0"/>
                      <a:pt x="20002" y="67627"/>
                      <a:pt x="0" y="160973"/>
                    </a:cubicBezTo>
                    <a:lnTo>
                      <a:pt x="87630" y="160973"/>
                    </a:lnTo>
                    <a:cubicBezTo>
                      <a:pt x="112395" y="103823"/>
                      <a:pt x="144780" y="55245"/>
                      <a:pt x="181927" y="180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 214"/>
              <p:cNvSpPr/>
              <p:nvPr/>
            </p:nvSpPr>
            <p:spPr>
              <a:xfrm>
                <a:off x="6781799" y="2386965"/>
                <a:ext cx="313372" cy="340994"/>
              </a:xfrm>
              <a:custGeom>
                <a:avLst/>
                <a:gdLst>
                  <a:gd name="connsiteX0" fmla="*/ 170497 w 313372"/>
                  <a:gd name="connsiteY0" fmla="*/ 262890 h 340994"/>
                  <a:gd name="connsiteX1" fmla="*/ 313372 w 313372"/>
                  <a:gd name="connsiteY1" fmla="*/ 131445 h 340994"/>
                  <a:gd name="connsiteX2" fmla="*/ 166688 w 313372"/>
                  <a:gd name="connsiteY2" fmla="*/ 0 h 340994"/>
                  <a:gd name="connsiteX3" fmla="*/ 0 w 313372"/>
                  <a:gd name="connsiteY3" fmla="*/ 250507 h 340994"/>
                  <a:gd name="connsiteX4" fmla="*/ 9525 w 313372"/>
                  <a:gd name="connsiteY4" fmla="*/ 327660 h 340994"/>
                  <a:gd name="connsiteX5" fmla="*/ 13335 w 313372"/>
                  <a:gd name="connsiteY5" fmla="*/ 340995 h 340994"/>
                  <a:gd name="connsiteX6" fmla="*/ 170497 w 313372"/>
                  <a:gd name="connsiteY6" fmla="*/ 262890 h 340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3372" h="340994">
                    <a:moveTo>
                      <a:pt x="170497" y="262890"/>
                    </a:moveTo>
                    <a:cubicBezTo>
                      <a:pt x="204788" y="195263"/>
                      <a:pt x="255270" y="147638"/>
                      <a:pt x="313372" y="131445"/>
                    </a:cubicBezTo>
                    <a:cubicBezTo>
                      <a:pt x="284797" y="53340"/>
                      <a:pt x="230505" y="0"/>
                      <a:pt x="166688" y="0"/>
                    </a:cubicBezTo>
                    <a:cubicBezTo>
                      <a:pt x="74295" y="0"/>
                      <a:pt x="0" y="112395"/>
                      <a:pt x="0" y="250507"/>
                    </a:cubicBezTo>
                    <a:cubicBezTo>
                      <a:pt x="0" y="279082"/>
                      <a:pt x="2857" y="304800"/>
                      <a:pt x="9525" y="327660"/>
                    </a:cubicBezTo>
                    <a:cubicBezTo>
                      <a:pt x="10478" y="332422"/>
                      <a:pt x="12382" y="336232"/>
                      <a:pt x="13335" y="340995"/>
                    </a:cubicBezTo>
                    <a:cubicBezTo>
                      <a:pt x="58103" y="295275"/>
                      <a:pt x="112395" y="267652"/>
                      <a:pt x="170497" y="262890"/>
                    </a:cubicBezTo>
                    <a:close/>
                  </a:path>
                </a:pathLst>
              </a:custGeom>
              <a:solidFill>
                <a:srgbClr val="3BA24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 215"/>
              <p:cNvSpPr/>
              <p:nvPr/>
            </p:nvSpPr>
            <p:spPr>
              <a:xfrm>
                <a:off x="6952296" y="2413634"/>
                <a:ext cx="417195" cy="359092"/>
              </a:xfrm>
              <a:custGeom>
                <a:avLst/>
                <a:gdLst>
                  <a:gd name="connsiteX0" fmla="*/ 0 w 417195"/>
                  <a:gd name="connsiteY0" fmla="*/ 138113 h 359092"/>
                  <a:gd name="connsiteX1" fmla="*/ 18097 w 417195"/>
                  <a:gd name="connsiteY1" fmla="*/ 137160 h 359092"/>
                  <a:gd name="connsiteX2" fmla="*/ 287655 w 417195"/>
                  <a:gd name="connsiteY2" fmla="*/ 359093 h 359092"/>
                  <a:gd name="connsiteX3" fmla="*/ 417195 w 417195"/>
                  <a:gd name="connsiteY3" fmla="*/ 359093 h 359092"/>
                  <a:gd name="connsiteX4" fmla="*/ 417195 w 417195"/>
                  <a:gd name="connsiteY4" fmla="*/ 350520 h 359092"/>
                  <a:gd name="connsiteX5" fmla="*/ 184785 w 417195"/>
                  <a:gd name="connsiteY5" fmla="*/ 0 h 359092"/>
                  <a:gd name="connsiteX6" fmla="*/ 142875 w 417195"/>
                  <a:gd name="connsiteY6" fmla="*/ 5715 h 359092"/>
                  <a:gd name="connsiteX7" fmla="*/ 0 w 417195"/>
                  <a:gd name="connsiteY7" fmla="*/ 138113 h 359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195" h="359092">
                    <a:moveTo>
                      <a:pt x="0" y="138113"/>
                    </a:moveTo>
                    <a:cubicBezTo>
                      <a:pt x="5715" y="137160"/>
                      <a:pt x="11430" y="137160"/>
                      <a:pt x="18097" y="137160"/>
                    </a:cubicBezTo>
                    <a:cubicBezTo>
                      <a:pt x="131445" y="137160"/>
                      <a:pt x="230505" y="225743"/>
                      <a:pt x="287655" y="359093"/>
                    </a:cubicBezTo>
                    <a:lnTo>
                      <a:pt x="417195" y="359093"/>
                    </a:lnTo>
                    <a:cubicBezTo>
                      <a:pt x="417195" y="356235"/>
                      <a:pt x="417195" y="353378"/>
                      <a:pt x="417195" y="350520"/>
                    </a:cubicBezTo>
                    <a:cubicBezTo>
                      <a:pt x="417195" y="157163"/>
                      <a:pt x="313372" y="0"/>
                      <a:pt x="184785" y="0"/>
                    </a:cubicBezTo>
                    <a:cubicBezTo>
                      <a:pt x="170497" y="0"/>
                      <a:pt x="156210" y="1905"/>
                      <a:pt x="142875" y="5715"/>
                    </a:cubicBezTo>
                    <a:cubicBezTo>
                      <a:pt x="84772" y="22860"/>
                      <a:pt x="34290" y="70485"/>
                      <a:pt x="0" y="138113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 216"/>
              <p:cNvSpPr/>
              <p:nvPr/>
            </p:nvSpPr>
            <p:spPr>
              <a:xfrm>
                <a:off x="6699884" y="2550795"/>
                <a:ext cx="540067" cy="222885"/>
              </a:xfrm>
              <a:custGeom>
                <a:avLst/>
                <a:gdLst>
                  <a:gd name="connsiteX0" fmla="*/ 270510 w 540067"/>
                  <a:gd name="connsiteY0" fmla="*/ 0 h 222885"/>
                  <a:gd name="connsiteX1" fmla="*/ 252413 w 540067"/>
                  <a:gd name="connsiteY1" fmla="*/ 952 h 222885"/>
                  <a:gd name="connsiteX2" fmla="*/ 94297 w 540067"/>
                  <a:gd name="connsiteY2" fmla="*/ 79058 h 222885"/>
                  <a:gd name="connsiteX3" fmla="*/ 0 w 540067"/>
                  <a:gd name="connsiteY3" fmla="*/ 222885 h 222885"/>
                  <a:gd name="connsiteX4" fmla="*/ 540068 w 540067"/>
                  <a:gd name="connsiteY4" fmla="*/ 222885 h 222885"/>
                  <a:gd name="connsiteX5" fmla="*/ 270510 w 540067"/>
                  <a:gd name="connsiteY5" fmla="*/ 0 h 222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0067" h="222885">
                    <a:moveTo>
                      <a:pt x="270510" y="0"/>
                    </a:moveTo>
                    <a:cubicBezTo>
                      <a:pt x="264795" y="0"/>
                      <a:pt x="258128" y="0"/>
                      <a:pt x="252413" y="952"/>
                    </a:cubicBezTo>
                    <a:cubicBezTo>
                      <a:pt x="194310" y="5715"/>
                      <a:pt x="140970" y="34290"/>
                      <a:pt x="94297" y="79058"/>
                    </a:cubicBezTo>
                    <a:cubicBezTo>
                      <a:pt x="56197" y="116205"/>
                      <a:pt x="24765" y="164783"/>
                      <a:pt x="0" y="222885"/>
                    </a:cubicBezTo>
                    <a:lnTo>
                      <a:pt x="540068" y="222885"/>
                    </a:lnTo>
                    <a:cubicBezTo>
                      <a:pt x="482918" y="88583"/>
                      <a:pt x="383858" y="0"/>
                      <a:pt x="27051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8914289" y="4138612"/>
              <a:ext cx="578168" cy="567690"/>
              <a:chOff x="8879204" y="2205990"/>
              <a:chExt cx="578168" cy="567690"/>
            </a:xfrm>
          </p:grpSpPr>
          <p:grpSp>
            <p:nvGrpSpPr>
              <p:cNvPr id="28" name="组合 27"/>
              <p:cNvGrpSpPr/>
              <p:nvPr/>
            </p:nvGrpSpPr>
            <p:grpSpPr>
              <a:xfrm>
                <a:off x="8879204" y="2205990"/>
                <a:ext cx="342900" cy="567690"/>
                <a:chOff x="8879204" y="2205990"/>
                <a:chExt cx="342900" cy="567690"/>
              </a:xfrm>
            </p:grpSpPr>
            <p:sp>
              <p:nvSpPr>
                <p:cNvPr id="34" name="任意多边形 220"/>
                <p:cNvSpPr/>
                <p:nvPr/>
              </p:nvSpPr>
              <p:spPr>
                <a:xfrm>
                  <a:off x="9023984" y="2238375"/>
                  <a:ext cx="60007" cy="535305"/>
                </a:xfrm>
                <a:custGeom>
                  <a:avLst/>
                  <a:gdLst>
                    <a:gd name="connsiteX0" fmla="*/ 60007 w 60007"/>
                    <a:gd name="connsiteY0" fmla="*/ 535305 h 535305"/>
                    <a:gd name="connsiteX1" fmla="*/ 0 w 60007"/>
                    <a:gd name="connsiteY1" fmla="*/ 535305 h 535305"/>
                    <a:gd name="connsiteX2" fmla="*/ 20955 w 60007"/>
                    <a:gd name="connsiteY2" fmla="*/ 0 h 535305"/>
                    <a:gd name="connsiteX3" fmla="*/ 39052 w 60007"/>
                    <a:gd name="connsiteY3" fmla="*/ 0 h 535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007" h="535305">
                      <a:moveTo>
                        <a:pt x="60007" y="535305"/>
                      </a:moveTo>
                      <a:lnTo>
                        <a:pt x="0" y="535305"/>
                      </a:lnTo>
                      <a:lnTo>
                        <a:pt x="20955" y="0"/>
                      </a:lnTo>
                      <a:lnTo>
                        <a:pt x="39052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35" name="组合 34"/>
                <p:cNvGrpSpPr/>
                <p:nvPr/>
              </p:nvGrpSpPr>
              <p:grpSpPr>
                <a:xfrm>
                  <a:off x="8879204" y="2205990"/>
                  <a:ext cx="342900" cy="567690"/>
                  <a:chOff x="8879204" y="2205990"/>
                  <a:chExt cx="342900" cy="567690"/>
                </a:xfrm>
              </p:grpSpPr>
              <p:sp>
                <p:nvSpPr>
                  <p:cNvPr id="36" name="任意多边形 222"/>
                  <p:cNvSpPr/>
                  <p:nvPr/>
                </p:nvSpPr>
                <p:spPr>
                  <a:xfrm>
                    <a:off x="8879204" y="2546984"/>
                    <a:ext cx="342900" cy="226695"/>
                  </a:xfrm>
                  <a:custGeom>
                    <a:avLst/>
                    <a:gdLst>
                      <a:gd name="connsiteX0" fmla="*/ 170497 w 342900"/>
                      <a:gd name="connsiteY0" fmla="*/ 0 h 226695"/>
                      <a:gd name="connsiteX1" fmla="*/ 0 w 342900"/>
                      <a:gd name="connsiteY1" fmla="*/ 226695 h 226695"/>
                      <a:gd name="connsiteX2" fmla="*/ 171450 w 342900"/>
                      <a:gd name="connsiteY2" fmla="*/ 226695 h 226695"/>
                      <a:gd name="connsiteX3" fmla="*/ 342900 w 342900"/>
                      <a:gd name="connsiteY3" fmla="*/ 226695 h 2266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42900" h="226695">
                        <a:moveTo>
                          <a:pt x="170497" y="0"/>
                        </a:moveTo>
                        <a:lnTo>
                          <a:pt x="0" y="226695"/>
                        </a:lnTo>
                        <a:lnTo>
                          <a:pt x="171450" y="226695"/>
                        </a:lnTo>
                        <a:lnTo>
                          <a:pt x="342900" y="226695"/>
                        </a:lnTo>
                        <a:close/>
                      </a:path>
                    </a:pathLst>
                  </a:custGeom>
                  <a:solidFill>
                    <a:srgbClr val="006738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7" name="任意多边形 223"/>
                  <p:cNvSpPr/>
                  <p:nvPr/>
                </p:nvSpPr>
                <p:spPr>
                  <a:xfrm>
                    <a:off x="8893492" y="2415540"/>
                    <a:ext cx="313372" cy="191452"/>
                  </a:xfrm>
                  <a:custGeom>
                    <a:avLst/>
                    <a:gdLst>
                      <a:gd name="connsiteX0" fmla="*/ 155257 w 313372"/>
                      <a:gd name="connsiteY0" fmla="*/ 0 h 191452"/>
                      <a:gd name="connsiteX1" fmla="*/ 0 w 313372"/>
                      <a:gd name="connsiteY1" fmla="*/ 191452 h 191452"/>
                      <a:gd name="connsiteX2" fmla="*/ 156210 w 313372"/>
                      <a:gd name="connsiteY2" fmla="*/ 191452 h 191452"/>
                      <a:gd name="connsiteX3" fmla="*/ 313372 w 313372"/>
                      <a:gd name="connsiteY3" fmla="*/ 191452 h 1914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13372" h="191452">
                        <a:moveTo>
                          <a:pt x="155257" y="0"/>
                        </a:moveTo>
                        <a:lnTo>
                          <a:pt x="0" y="191452"/>
                        </a:lnTo>
                        <a:lnTo>
                          <a:pt x="156210" y="191452"/>
                        </a:lnTo>
                        <a:lnTo>
                          <a:pt x="313372" y="191452"/>
                        </a:lnTo>
                        <a:close/>
                      </a:path>
                    </a:pathLst>
                  </a:custGeom>
                  <a:solidFill>
                    <a:srgbClr val="029344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8" name="任意多边形 224"/>
                  <p:cNvSpPr/>
                  <p:nvPr/>
                </p:nvSpPr>
                <p:spPr>
                  <a:xfrm>
                    <a:off x="8904922" y="2303145"/>
                    <a:ext cx="288607" cy="163829"/>
                  </a:xfrm>
                  <a:custGeom>
                    <a:avLst/>
                    <a:gdLst>
                      <a:gd name="connsiteX0" fmla="*/ 143827 w 288607"/>
                      <a:gd name="connsiteY0" fmla="*/ 0 h 163829"/>
                      <a:gd name="connsiteX1" fmla="*/ 0 w 288607"/>
                      <a:gd name="connsiteY1" fmla="*/ 163830 h 163829"/>
                      <a:gd name="connsiteX2" fmla="*/ 144780 w 288607"/>
                      <a:gd name="connsiteY2" fmla="*/ 163830 h 163829"/>
                      <a:gd name="connsiteX3" fmla="*/ 288607 w 288607"/>
                      <a:gd name="connsiteY3" fmla="*/ 163830 h 1638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88607" h="163829">
                        <a:moveTo>
                          <a:pt x="143827" y="0"/>
                        </a:moveTo>
                        <a:lnTo>
                          <a:pt x="0" y="163830"/>
                        </a:lnTo>
                        <a:lnTo>
                          <a:pt x="144780" y="163830"/>
                        </a:lnTo>
                        <a:lnTo>
                          <a:pt x="288607" y="163830"/>
                        </a:lnTo>
                        <a:close/>
                      </a:path>
                    </a:pathLst>
                  </a:custGeom>
                  <a:solidFill>
                    <a:srgbClr val="6EB13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9" name="任意多边形 225"/>
                  <p:cNvSpPr/>
                  <p:nvPr/>
                </p:nvSpPr>
                <p:spPr>
                  <a:xfrm>
                    <a:off x="8915399" y="2205990"/>
                    <a:ext cx="266700" cy="140969"/>
                  </a:xfrm>
                  <a:custGeom>
                    <a:avLst/>
                    <a:gdLst>
                      <a:gd name="connsiteX0" fmla="*/ 132398 w 266700"/>
                      <a:gd name="connsiteY0" fmla="*/ 0 h 140969"/>
                      <a:gd name="connsiteX1" fmla="*/ 0 w 266700"/>
                      <a:gd name="connsiteY1" fmla="*/ 140970 h 140969"/>
                      <a:gd name="connsiteX2" fmla="*/ 133350 w 266700"/>
                      <a:gd name="connsiteY2" fmla="*/ 140970 h 140969"/>
                      <a:gd name="connsiteX3" fmla="*/ 266700 w 266700"/>
                      <a:gd name="connsiteY3" fmla="*/ 140970 h 1409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66700" h="140969">
                        <a:moveTo>
                          <a:pt x="132398" y="0"/>
                        </a:moveTo>
                        <a:lnTo>
                          <a:pt x="0" y="140970"/>
                        </a:lnTo>
                        <a:lnTo>
                          <a:pt x="133350" y="140970"/>
                        </a:lnTo>
                        <a:lnTo>
                          <a:pt x="266700" y="140970"/>
                        </a:lnTo>
                        <a:close/>
                      </a:path>
                    </a:pathLst>
                  </a:custGeom>
                  <a:solidFill>
                    <a:srgbClr val="92C33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29" name="组合 28"/>
              <p:cNvGrpSpPr/>
              <p:nvPr/>
            </p:nvGrpSpPr>
            <p:grpSpPr>
              <a:xfrm>
                <a:off x="9019222" y="2615565"/>
                <a:ext cx="438150" cy="158115"/>
                <a:chOff x="9019222" y="2615565"/>
                <a:chExt cx="438150" cy="158115"/>
              </a:xfrm>
            </p:grpSpPr>
            <p:sp>
              <p:nvSpPr>
                <p:cNvPr id="30" name="任意多边形 228"/>
                <p:cNvSpPr/>
                <p:nvPr/>
              </p:nvSpPr>
              <p:spPr>
                <a:xfrm>
                  <a:off x="9088754" y="2615565"/>
                  <a:ext cx="317182" cy="158115"/>
                </a:xfrm>
                <a:custGeom>
                  <a:avLst/>
                  <a:gdLst>
                    <a:gd name="connsiteX0" fmla="*/ 158115 w 317182"/>
                    <a:gd name="connsiteY0" fmla="*/ 0 h 158115"/>
                    <a:gd name="connsiteX1" fmla="*/ 0 w 317182"/>
                    <a:gd name="connsiteY1" fmla="*/ 158115 h 158115"/>
                    <a:gd name="connsiteX2" fmla="*/ 317182 w 317182"/>
                    <a:gd name="connsiteY2" fmla="*/ 158115 h 158115"/>
                    <a:gd name="connsiteX3" fmla="*/ 158115 w 317182"/>
                    <a:gd name="connsiteY3" fmla="*/ 0 h 1581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7182" h="158115">
                      <a:moveTo>
                        <a:pt x="158115" y="0"/>
                      </a:moveTo>
                      <a:cubicBezTo>
                        <a:pt x="70485" y="0"/>
                        <a:pt x="0" y="70485"/>
                        <a:pt x="0" y="158115"/>
                      </a:cubicBezTo>
                      <a:lnTo>
                        <a:pt x="317182" y="158115"/>
                      </a:lnTo>
                      <a:cubicBezTo>
                        <a:pt x="317182" y="70485"/>
                        <a:pt x="245745" y="0"/>
                        <a:pt x="158115" y="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1" name="任意多边形 229"/>
                <p:cNvSpPr/>
                <p:nvPr/>
              </p:nvSpPr>
              <p:spPr>
                <a:xfrm>
                  <a:off x="9019222" y="2677477"/>
                  <a:ext cx="190500" cy="95250"/>
                </a:xfrm>
                <a:custGeom>
                  <a:avLst/>
                  <a:gdLst>
                    <a:gd name="connsiteX0" fmla="*/ 95250 w 190500"/>
                    <a:gd name="connsiteY0" fmla="*/ 0 h 95250"/>
                    <a:gd name="connsiteX1" fmla="*/ 0 w 190500"/>
                    <a:gd name="connsiteY1" fmla="*/ 95250 h 95250"/>
                    <a:gd name="connsiteX2" fmla="*/ 190500 w 190500"/>
                    <a:gd name="connsiteY2" fmla="*/ 95250 h 95250"/>
                    <a:gd name="connsiteX3" fmla="*/ 95250 w 190500"/>
                    <a:gd name="connsiteY3" fmla="*/ 0 h 95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0500" h="95250">
                      <a:moveTo>
                        <a:pt x="95250" y="0"/>
                      </a:moveTo>
                      <a:cubicBezTo>
                        <a:pt x="42863" y="0"/>
                        <a:pt x="0" y="42863"/>
                        <a:pt x="0" y="95250"/>
                      </a:cubicBezTo>
                      <a:lnTo>
                        <a:pt x="190500" y="95250"/>
                      </a:lnTo>
                      <a:cubicBezTo>
                        <a:pt x="190500" y="42863"/>
                        <a:pt x="148590" y="0"/>
                        <a:pt x="95250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2" name="任意多边形 230"/>
                <p:cNvSpPr/>
                <p:nvPr/>
              </p:nvSpPr>
              <p:spPr>
                <a:xfrm>
                  <a:off x="9139237" y="2706052"/>
                  <a:ext cx="134324" cy="67627"/>
                </a:xfrm>
                <a:custGeom>
                  <a:avLst/>
                  <a:gdLst>
                    <a:gd name="connsiteX0" fmla="*/ 67627 w 134324"/>
                    <a:gd name="connsiteY0" fmla="*/ 0 h 67627"/>
                    <a:gd name="connsiteX1" fmla="*/ 0 w 134324"/>
                    <a:gd name="connsiteY1" fmla="*/ 67628 h 67627"/>
                    <a:gd name="connsiteX2" fmla="*/ 134302 w 134324"/>
                    <a:gd name="connsiteY2" fmla="*/ 67628 h 67627"/>
                    <a:gd name="connsiteX3" fmla="*/ 67627 w 134324"/>
                    <a:gd name="connsiteY3" fmla="*/ 0 h 67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4324" h="67627">
                      <a:moveTo>
                        <a:pt x="67627" y="0"/>
                      </a:moveTo>
                      <a:cubicBezTo>
                        <a:pt x="30480" y="0"/>
                        <a:pt x="0" y="30480"/>
                        <a:pt x="0" y="67628"/>
                      </a:cubicBezTo>
                      <a:lnTo>
                        <a:pt x="134302" y="67628"/>
                      </a:lnTo>
                      <a:cubicBezTo>
                        <a:pt x="135255" y="30480"/>
                        <a:pt x="104775" y="0"/>
                        <a:pt x="67627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3" name="任意多边形 231"/>
                <p:cNvSpPr/>
                <p:nvPr/>
              </p:nvSpPr>
              <p:spPr>
                <a:xfrm>
                  <a:off x="9332594" y="2710815"/>
                  <a:ext cx="124777" cy="62865"/>
                </a:xfrm>
                <a:custGeom>
                  <a:avLst/>
                  <a:gdLst>
                    <a:gd name="connsiteX0" fmla="*/ 62865 w 124777"/>
                    <a:gd name="connsiteY0" fmla="*/ 0 h 62865"/>
                    <a:gd name="connsiteX1" fmla="*/ 0 w 124777"/>
                    <a:gd name="connsiteY1" fmla="*/ 62865 h 62865"/>
                    <a:gd name="connsiteX2" fmla="*/ 124778 w 124777"/>
                    <a:gd name="connsiteY2" fmla="*/ 62865 h 62865"/>
                    <a:gd name="connsiteX3" fmla="*/ 62865 w 124777"/>
                    <a:gd name="connsiteY3" fmla="*/ 0 h 62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4777" h="62865">
                      <a:moveTo>
                        <a:pt x="62865" y="0"/>
                      </a:moveTo>
                      <a:cubicBezTo>
                        <a:pt x="28575" y="0"/>
                        <a:pt x="0" y="27622"/>
                        <a:pt x="0" y="62865"/>
                      </a:cubicBezTo>
                      <a:lnTo>
                        <a:pt x="124778" y="62865"/>
                      </a:lnTo>
                      <a:cubicBezTo>
                        <a:pt x="124778" y="27622"/>
                        <a:pt x="97155" y="0"/>
                        <a:pt x="62865" y="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4" name="组合 13"/>
            <p:cNvGrpSpPr/>
            <p:nvPr/>
          </p:nvGrpSpPr>
          <p:grpSpPr>
            <a:xfrm>
              <a:off x="2772569" y="4065269"/>
              <a:ext cx="704850" cy="641032"/>
              <a:chOff x="2737484" y="2132647"/>
              <a:chExt cx="704850" cy="641032"/>
            </a:xfrm>
          </p:grpSpPr>
          <p:sp>
            <p:nvSpPr>
              <p:cNvPr id="15" name="任意多边形 233"/>
              <p:cNvSpPr/>
              <p:nvPr/>
            </p:nvSpPr>
            <p:spPr>
              <a:xfrm>
                <a:off x="2987992" y="2646045"/>
                <a:ext cx="340058" cy="127635"/>
              </a:xfrm>
              <a:custGeom>
                <a:avLst/>
                <a:gdLst>
                  <a:gd name="connsiteX0" fmla="*/ 250508 w 340058"/>
                  <a:gd name="connsiteY0" fmla="*/ 37148 h 127635"/>
                  <a:gd name="connsiteX1" fmla="*/ 221933 w 340058"/>
                  <a:gd name="connsiteY1" fmla="*/ 41910 h 127635"/>
                  <a:gd name="connsiteX2" fmla="*/ 127635 w 340058"/>
                  <a:gd name="connsiteY2" fmla="*/ 0 h 127635"/>
                  <a:gd name="connsiteX3" fmla="*/ 0 w 340058"/>
                  <a:gd name="connsiteY3" fmla="*/ 127635 h 127635"/>
                  <a:gd name="connsiteX4" fmla="*/ 160020 w 340058"/>
                  <a:gd name="connsiteY4" fmla="*/ 127635 h 127635"/>
                  <a:gd name="connsiteX5" fmla="*/ 254318 w 340058"/>
                  <a:gd name="connsiteY5" fmla="*/ 127635 h 127635"/>
                  <a:gd name="connsiteX6" fmla="*/ 340043 w 340058"/>
                  <a:gd name="connsiteY6" fmla="*/ 127635 h 127635"/>
                  <a:gd name="connsiteX7" fmla="*/ 250508 w 340058"/>
                  <a:gd name="connsiteY7" fmla="*/ 37148 h 127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0058" h="127635">
                    <a:moveTo>
                      <a:pt x="250508" y="37148"/>
                    </a:moveTo>
                    <a:cubicBezTo>
                      <a:pt x="240030" y="37148"/>
                      <a:pt x="230505" y="39052"/>
                      <a:pt x="221933" y="41910"/>
                    </a:cubicBezTo>
                    <a:cubicBezTo>
                      <a:pt x="198120" y="16192"/>
                      <a:pt x="164783" y="0"/>
                      <a:pt x="127635" y="0"/>
                    </a:cubicBezTo>
                    <a:cubicBezTo>
                      <a:pt x="57150" y="0"/>
                      <a:pt x="0" y="57150"/>
                      <a:pt x="0" y="127635"/>
                    </a:cubicBezTo>
                    <a:lnTo>
                      <a:pt x="160020" y="127635"/>
                    </a:lnTo>
                    <a:lnTo>
                      <a:pt x="254318" y="127635"/>
                    </a:lnTo>
                    <a:lnTo>
                      <a:pt x="340043" y="127635"/>
                    </a:lnTo>
                    <a:cubicBezTo>
                      <a:pt x="340995" y="77152"/>
                      <a:pt x="300038" y="37148"/>
                      <a:pt x="250508" y="37148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6" name="组合 15"/>
              <p:cNvGrpSpPr/>
              <p:nvPr/>
            </p:nvGrpSpPr>
            <p:grpSpPr>
              <a:xfrm>
                <a:off x="2737484" y="2132647"/>
                <a:ext cx="704850" cy="640080"/>
                <a:chOff x="2737484" y="2132647"/>
                <a:chExt cx="704850" cy="640080"/>
              </a:xfrm>
            </p:grpSpPr>
            <p:sp>
              <p:nvSpPr>
                <p:cNvPr id="18" name="任意多边形 235"/>
                <p:cNvSpPr/>
                <p:nvPr/>
              </p:nvSpPr>
              <p:spPr>
                <a:xfrm>
                  <a:off x="3063239" y="2425065"/>
                  <a:ext cx="49530" cy="347662"/>
                </a:xfrm>
                <a:custGeom>
                  <a:avLst/>
                  <a:gdLst>
                    <a:gd name="connsiteX0" fmla="*/ 0 w 49530"/>
                    <a:gd name="connsiteY0" fmla="*/ 347663 h 347662"/>
                    <a:gd name="connsiteX1" fmla="*/ 49530 w 49530"/>
                    <a:gd name="connsiteY1" fmla="*/ 347663 h 347662"/>
                    <a:gd name="connsiteX2" fmla="*/ 43815 w 49530"/>
                    <a:gd name="connsiteY2" fmla="*/ 0 h 347662"/>
                    <a:gd name="connsiteX3" fmla="*/ 8573 w 49530"/>
                    <a:gd name="connsiteY3" fmla="*/ 0 h 347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9530" h="347662">
                      <a:moveTo>
                        <a:pt x="0" y="347663"/>
                      </a:moveTo>
                      <a:lnTo>
                        <a:pt x="49530" y="347663"/>
                      </a:lnTo>
                      <a:lnTo>
                        <a:pt x="43815" y="0"/>
                      </a:lnTo>
                      <a:lnTo>
                        <a:pt x="8573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" name="任意多边形 236"/>
                <p:cNvSpPr/>
                <p:nvPr/>
              </p:nvSpPr>
              <p:spPr>
                <a:xfrm>
                  <a:off x="3097529" y="2373629"/>
                  <a:ext cx="150866" cy="200025"/>
                </a:xfrm>
                <a:custGeom>
                  <a:avLst/>
                  <a:gdLst>
                    <a:gd name="connsiteX0" fmla="*/ 952 w 150866"/>
                    <a:gd name="connsiteY0" fmla="*/ 158115 h 200025"/>
                    <a:gd name="connsiteX1" fmla="*/ 110490 w 150866"/>
                    <a:gd name="connsiteY1" fmla="*/ 0 h 200025"/>
                    <a:gd name="connsiteX2" fmla="*/ 149543 w 150866"/>
                    <a:gd name="connsiteY2" fmla="*/ 6667 h 200025"/>
                    <a:gd name="connsiteX3" fmla="*/ 0 w 150866"/>
                    <a:gd name="connsiteY3" fmla="*/ 200025 h 200025"/>
                    <a:gd name="connsiteX4" fmla="*/ 952 w 150866"/>
                    <a:gd name="connsiteY4" fmla="*/ 158115 h 200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66" h="200025">
                      <a:moveTo>
                        <a:pt x="952" y="158115"/>
                      </a:moveTo>
                      <a:cubicBezTo>
                        <a:pt x="952" y="158115"/>
                        <a:pt x="152400" y="141923"/>
                        <a:pt x="110490" y="0"/>
                      </a:cubicBezTo>
                      <a:lnTo>
                        <a:pt x="149543" y="6667"/>
                      </a:lnTo>
                      <a:cubicBezTo>
                        <a:pt x="149543" y="6667"/>
                        <a:pt x="175260" y="144780"/>
                        <a:pt x="0" y="200025"/>
                      </a:cubicBezTo>
                      <a:lnTo>
                        <a:pt x="952" y="158115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" name="任意多边形 237"/>
                <p:cNvSpPr/>
                <p:nvPr/>
              </p:nvSpPr>
              <p:spPr>
                <a:xfrm>
                  <a:off x="2968935" y="2326957"/>
                  <a:ext cx="120973" cy="156209"/>
                </a:xfrm>
                <a:custGeom>
                  <a:avLst/>
                  <a:gdLst>
                    <a:gd name="connsiteX0" fmla="*/ 30486 w 120973"/>
                    <a:gd name="connsiteY0" fmla="*/ 10477 h 156209"/>
                    <a:gd name="connsiteX1" fmla="*/ 120974 w 120973"/>
                    <a:gd name="connsiteY1" fmla="*/ 128588 h 156209"/>
                    <a:gd name="connsiteX2" fmla="*/ 106686 w 120973"/>
                    <a:gd name="connsiteY2" fmla="*/ 156210 h 156209"/>
                    <a:gd name="connsiteX3" fmla="*/ 6 w 120973"/>
                    <a:gd name="connsiteY3" fmla="*/ 0 h 156209"/>
                    <a:gd name="connsiteX4" fmla="*/ 30486 w 120973"/>
                    <a:gd name="connsiteY4" fmla="*/ 10477 h 156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0973" h="156209">
                      <a:moveTo>
                        <a:pt x="30486" y="10477"/>
                      </a:moveTo>
                      <a:cubicBezTo>
                        <a:pt x="30486" y="10477"/>
                        <a:pt x="5721" y="125730"/>
                        <a:pt x="120974" y="128588"/>
                      </a:cubicBezTo>
                      <a:lnTo>
                        <a:pt x="106686" y="156210"/>
                      </a:lnTo>
                      <a:cubicBezTo>
                        <a:pt x="106686" y="156210"/>
                        <a:pt x="-946" y="141922"/>
                        <a:pt x="6" y="0"/>
                      </a:cubicBezTo>
                      <a:lnTo>
                        <a:pt x="30486" y="10477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" name="任意多边形 238"/>
                <p:cNvSpPr/>
                <p:nvPr/>
              </p:nvSpPr>
              <p:spPr>
                <a:xfrm>
                  <a:off x="2832734" y="2346959"/>
                  <a:ext cx="167640" cy="97818"/>
                </a:xfrm>
                <a:custGeom>
                  <a:avLst/>
                  <a:gdLst>
                    <a:gd name="connsiteX0" fmla="*/ 32385 w 167640"/>
                    <a:gd name="connsiteY0" fmla="*/ 0 h 97818"/>
                    <a:gd name="connsiteX1" fmla="*/ 167640 w 167640"/>
                    <a:gd name="connsiteY1" fmla="*/ 61913 h 97818"/>
                    <a:gd name="connsiteX2" fmla="*/ 167640 w 167640"/>
                    <a:gd name="connsiteY2" fmla="*/ 92393 h 97818"/>
                    <a:gd name="connsiteX3" fmla="*/ 0 w 167640"/>
                    <a:gd name="connsiteY3" fmla="*/ 4763 h 97818"/>
                    <a:gd name="connsiteX4" fmla="*/ 32385 w 167640"/>
                    <a:gd name="connsiteY4" fmla="*/ 0 h 97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97818">
                      <a:moveTo>
                        <a:pt x="32385" y="0"/>
                      </a:moveTo>
                      <a:cubicBezTo>
                        <a:pt x="32385" y="0"/>
                        <a:pt x="64770" y="112395"/>
                        <a:pt x="167640" y="61913"/>
                      </a:cubicBezTo>
                      <a:lnTo>
                        <a:pt x="167640" y="92393"/>
                      </a:lnTo>
                      <a:cubicBezTo>
                        <a:pt x="167640" y="92393"/>
                        <a:pt x="65723" y="130493"/>
                        <a:pt x="0" y="4763"/>
                      </a:cubicBezTo>
                      <a:lnTo>
                        <a:pt x="32385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" name="任意多边形 239"/>
                <p:cNvSpPr/>
                <p:nvPr/>
              </p:nvSpPr>
              <p:spPr>
                <a:xfrm>
                  <a:off x="3191826" y="2437447"/>
                  <a:ext cx="179070" cy="91847"/>
                </a:xfrm>
                <a:custGeom>
                  <a:avLst/>
                  <a:gdLst>
                    <a:gd name="connsiteX0" fmla="*/ 18098 w 179070"/>
                    <a:gd name="connsiteY0" fmla="*/ 56198 h 91847"/>
                    <a:gd name="connsiteX1" fmla="*/ 156210 w 179070"/>
                    <a:gd name="connsiteY1" fmla="*/ 0 h 91847"/>
                    <a:gd name="connsiteX2" fmla="*/ 179070 w 179070"/>
                    <a:gd name="connsiteY2" fmla="*/ 20955 h 91847"/>
                    <a:gd name="connsiteX3" fmla="*/ 0 w 179070"/>
                    <a:gd name="connsiteY3" fmla="*/ 82868 h 91847"/>
                    <a:gd name="connsiteX4" fmla="*/ 18098 w 179070"/>
                    <a:gd name="connsiteY4" fmla="*/ 56198 h 91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9070" h="91847">
                      <a:moveTo>
                        <a:pt x="18098" y="56198"/>
                      </a:moveTo>
                      <a:cubicBezTo>
                        <a:pt x="18098" y="56198"/>
                        <a:pt x="122873" y="109538"/>
                        <a:pt x="156210" y="0"/>
                      </a:cubicBezTo>
                      <a:lnTo>
                        <a:pt x="179070" y="20955"/>
                      </a:lnTo>
                      <a:cubicBezTo>
                        <a:pt x="179070" y="20955"/>
                        <a:pt x="137160" y="121920"/>
                        <a:pt x="0" y="82868"/>
                      </a:cubicBezTo>
                      <a:lnTo>
                        <a:pt x="18098" y="56198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" name="任意多边形 240"/>
                <p:cNvSpPr/>
                <p:nvPr/>
              </p:nvSpPr>
              <p:spPr>
                <a:xfrm>
                  <a:off x="2895599" y="2154554"/>
                  <a:ext cx="180975" cy="215265"/>
                </a:xfrm>
                <a:custGeom>
                  <a:avLst/>
                  <a:gdLst>
                    <a:gd name="connsiteX0" fmla="*/ 180975 w 180975"/>
                    <a:gd name="connsiteY0" fmla="*/ 119063 h 215265"/>
                    <a:gd name="connsiteX1" fmla="*/ 90488 w 180975"/>
                    <a:gd name="connsiteY1" fmla="*/ 215265 h 215265"/>
                    <a:gd name="connsiteX2" fmla="*/ 0 w 180975"/>
                    <a:gd name="connsiteY2" fmla="*/ 119063 h 215265"/>
                    <a:gd name="connsiteX3" fmla="*/ 90488 w 180975"/>
                    <a:gd name="connsiteY3" fmla="*/ 0 h 215265"/>
                    <a:gd name="connsiteX4" fmla="*/ 180975 w 180975"/>
                    <a:gd name="connsiteY4" fmla="*/ 119063 h 215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975" h="215265">
                      <a:moveTo>
                        <a:pt x="180975" y="119063"/>
                      </a:moveTo>
                      <a:cubicBezTo>
                        <a:pt x="180975" y="184785"/>
                        <a:pt x="140970" y="215265"/>
                        <a:pt x="90488" y="215265"/>
                      </a:cubicBezTo>
                      <a:cubicBezTo>
                        <a:pt x="40957" y="215265"/>
                        <a:pt x="0" y="184785"/>
                        <a:pt x="0" y="119063"/>
                      </a:cubicBezTo>
                      <a:cubicBezTo>
                        <a:pt x="0" y="53340"/>
                        <a:pt x="40005" y="0"/>
                        <a:pt x="90488" y="0"/>
                      </a:cubicBezTo>
                      <a:cubicBezTo>
                        <a:pt x="140018" y="0"/>
                        <a:pt x="180975" y="53340"/>
                        <a:pt x="180975" y="11906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" name="任意多边形 241"/>
                <p:cNvSpPr/>
                <p:nvPr/>
              </p:nvSpPr>
              <p:spPr>
                <a:xfrm>
                  <a:off x="2737484" y="2132647"/>
                  <a:ext cx="217170" cy="259080"/>
                </a:xfrm>
                <a:custGeom>
                  <a:avLst/>
                  <a:gdLst>
                    <a:gd name="connsiteX0" fmla="*/ 217170 w 217170"/>
                    <a:gd name="connsiteY0" fmla="*/ 142875 h 259080"/>
                    <a:gd name="connsiteX1" fmla="*/ 108585 w 217170"/>
                    <a:gd name="connsiteY1" fmla="*/ 259080 h 259080"/>
                    <a:gd name="connsiteX2" fmla="*/ 0 w 217170"/>
                    <a:gd name="connsiteY2" fmla="*/ 142875 h 259080"/>
                    <a:gd name="connsiteX3" fmla="*/ 108585 w 217170"/>
                    <a:gd name="connsiteY3" fmla="*/ 0 h 259080"/>
                    <a:gd name="connsiteX4" fmla="*/ 217170 w 217170"/>
                    <a:gd name="connsiteY4" fmla="*/ 142875 h 259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70" h="259080">
                      <a:moveTo>
                        <a:pt x="217170" y="142875"/>
                      </a:moveTo>
                      <a:cubicBezTo>
                        <a:pt x="217170" y="221933"/>
                        <a:pt x="168593" y="259080"/>
                        <a:pt x="108585" y="259080"/>
                      </a:cubicBezTo>
                      <a:cubicBezTo>
                        <a:pt x="48578" y="259080"/>
                        <a:pt x="0" y="222885"/>
                        <a:pt x="0" y="142875"/>
                      </a:cubicBezTo>
                      <a:cubicBezTo>
                        <a:pt x="0" y="63818"/>
                        <a:pt x="48578" y="0"/>
                        <a:pt x="108585" y="0"/>
                      </a:cubicBezTo>
                      <a:cubicBezTo>
                        <a:pt x="168593" y="0"/>
                        <a:pt x="217170" y="63818"/>
                        <a:pt x="217170" y="142875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5" name="任意多边形 242"/>
                <p:cNvSpPr/>
                <p:nvPr/>
              </p:nvSpPr>
              <p:spPr>
                <a:xfrm>
                  <a:off x="3108959" y="2200275"/>
                  <a:ext cx="217169" cy="218122"/>
                </a:xfrm>
                <a:custGeom>
                  <a:avLst/>
                  <a:gdLst>
                    <a:gd name="connsiteX0" fmla="*/ 217170 w 217169"/>
                    <a:gd name="connsiteY0" fmla="*/ 120967 h 218122"/>
                    <a:gd name="connsiteX1" fmla="*/ 108585 w 217169"/>
                    <a:gd name="connsiteY1" fmla="*/ 218122 h 218122"/>
                    <a:gd name="connsiteX2" fmla="*/ 0 w 217169"/>
                    <a:gd name="connsiteY2" fmla="*/ 120967 h 218122"/>
                    <a:gd name="connsiteX3" fmla="*/ 108585 w 217169"/>
                    <a:gd name="connsiteY3" fmla="*/ 0 h 218122"/>
                    <a:gd name="connsiteX4" fmla="*/ 217170 w 217169"/>
                    <a:gd name="connsiteY4" fmla="*/ 120967 h 218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69" h="218122">
                      <a:moveTo>
                        <a:pt x="217170" y="120967"/>
                      </a:moveTo>
                      <a:cubicBezTo>
                        <a:pt x="217170" y="187642"/>
                        <a:pt x="168592" y="218122"/>
                        <a:pt x="108585" y="218122"/>
                      </a:cubicBezTo>
                      <a:cubicBezTo>
                        <a:pt x="48577" y="218122"/>
                        <a:pt x="0" y="187642"/>
                        <a:pt x="0" y="120967"/>
                      </a:cubicBezTo>
                      <a:cubicBezTo>
                        <a:pt x="0" y="54292"/>
                        <a:pt x="48577" y="0"/>
                        <a:pt x="108585" y="0"/>
                      </a:cubicBezTo>
                      <a:cubicBezTo>
                        <a:pt x="168592" y="0"/>
                        <a:pt x="217170" y="54292"/>
                        <a:pt x="217170" y="120967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6" name="任意多边形 243"/>
                <p:cNvSpPr/>
                <p:nvPr/>
              </p:nvSpPr>
              <p:spPr>
                <a:xfrm>
                  <a:off x="3016567" y="2297429"/>
                  <a:ext cx="142875" cy="144779"/>
                </a:xfrm>
                <a:custGeom>
                  <a:avLst/>
                  <a:gdLst>
                    <a:gd name="connsiteX0" fmla="*/ 142875 w 142875"/>
                    <a:gd name="connsiteY0" fmla="*/ 80010 h 144779"/>
                    <a:gd name="connsiteX1" fmla="*/ 71438 w 142875"/>
                    <a:gd name="connsiteY1" fmla="*/ 144780 h 144779"/>
                    <a:gd name="connsiteX2" fmla="*/ 0 w 142875"/>
                    <a:gd name="connsiteY2" fmla="*/ 80010 h 144779"/>
                    <a:gd name="connsiteX3" fmla="*/ 71438 w 142875"/>
                    <a:gd name="connsiteY3" fmla="*/ 0 h 144779"/>
                    <a:gd name="connsiteX4" fmla="*/ 142875 w 142875"/>
                    <a:gd name="connsiteY4" fmla="*/ 80010 h 144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875" h="144779">
                      <a:moveTo>
                        <a:pt x="142875" y="80010"/>
                      </a:moveTo>
                      <a:cubicBezTo>
                        <a:pt x="142875" y="123825"/>
                        <a:pt x="110490" y="144780"/>
                        <a:pt x="71438" y="144780"/>
                      </a:cubicBezTo>
                      <a:cubicBezTo>
                        <a:pt x="31432" y="144780"/>
                        <a:pt x="0" y="124778"/>
                        <a:pt x="0" y="80010"/>
                      </a:cubicBezTo>
                      <a:cubicBezTo>
                        <a:pt x="0" y="36195"/>
                        <a:pt x="32385" y="0"/>
                        <a:pt x="71438" y="0"/>
                      </a:cubicBezTo>
                      <a:cubicBezTo>
                        <a:pt x="110490" y="0"/>
                        <a:pt x="142875" y="36195"/>
                        <a:pt x="142875" y="8001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7" name="任意多边形 244"/>
                <p:cNvSpPr/>
                <p:nvPr/>
              </p:nvSpPr>
              <p:spPr>
                <a:xfrm>
                  <a:off x="3274694" y="2323147"/>
                  <a:ext cx="167640" cy="167640"/>
                </a:xfrm>
                <a:custGeom>
                  <a:avLst/>
                  <a:gdLst>
                    <a:gd name="connsiteX0" fmla="*/ 167640 w 167640"/>
                    <a:gd name="connsiteY0" fmla="*/ 92393 h 167640"/>
                    <a:gd name="connsiteX1" fmla="*/ 83820 w 167640"/>
                    <a:gd name="connsiteY1" fmla="*/ 167640 h 167640"/>
                    <a:gd name="connsiteX2" fmla="*/ 0 w 167640"/>
                    <a:gd name="connsiteY2" fmla="*/ 92393 h 167640"/>
                    <a:gd name="connsiteX3" fmla="*/ 83820 w 167640"/>
                    <a:gd name="connsiteY3" fmla="*/ 0 h 167640"/>
                    <a:gd name="connsiteX4" fmla="*/ 167640 w 167640"/>
                    <a:gd name="connsiteY4" fmla="*/ 92393 h 1676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167640">
                      <a:moveTo>
                        <a:pt x="167640" y="92393"/>
                      </a:moveTo>
                      <a:cubicBezTo>
                        <a:pt x="167640" y="143828"/>
                        <a:pt x="130493" y="167640"/>
                        <a:pt x="83820" y="167640"/>
                      </a:cubicBezTo>
                      <a:cubicBezTo>
                        <a:pt x="38100" y="167640"/>
                        <a:pt x="0" y="143828"/>
                        <a:pt x="0" y="92393"/>
                      </a:cubicBezTo>
                      <a:cubicBezTo>
                        <a:pt x="0" y="40958"/>
                        <a:pt x="37148" y="0"/>
                        <a:pt x="83820" y="0"/>
                      </a:cubicBezTo>
                      <a:cubicBezTo>
                        <a:pt x="129540" y="0"/>
                        <a:pt x="167640" y="40958"/>
                        <a:pt x="167640" y="9239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7" name="任意多边形 245"/>
              <p:cNvSpPr/>
              <p:nvPr/>
            </p:nvSpPr>
            <p:spPr>
              <a:xfrm>
                <a:off x="2830829" y="2681287"/>
                <a:ext cx="247650" cy="92392"/>
              </a:xfrm>
              <a:custGeom>
                <a:avLst/>
                <a:gdLst>
                  <a:gd name="connsiteX0" fmla="*/ 65723 w 247650"/>
                  <a:gd name="connsiteY0" fmla="*/ 26670 h 92392"/>
                  <a:gd name="connsiteX1" fmla="*/ 86677 w 247650"/>
                  <a:gd name="connsiteY1" fmla="*/ 30480 h 92392"/>
                  <a:gd name="connsiteX2" fmla="*/ 155258 w 247650"/>
                  <a:gd name="connsiteY2" fmla="*/ 0 h 92392"/>
                  <a:gd name="connsiteX3" fmla="*/ 247650 w 247650"/>
                  <a:gd name="connsiteY3" fmla="*/ 92393 h 92392"/>
                  <a:gd name="connsiteX4" fmla="*/ 130493 w 247650"/>
                  <a:gd name="connsiteY4" fmla="*/ 92393 h 92392"/>
                  <a:gd name="connsiteX5" fmla="*/ 61913 w 247650"/>
                  <a:gd name="connsiteY5" fmla="*/ 92393 h 92392"/>
                  <a:gd name="connsiteX6" fmla="*/ 0 w 247650"/>
                  <a:gd name="connsiteY6" fmla="*/ 92393 h 92392"/>
                  <a:gd name="connsiteX7" fmla="*/ 65723 w 247650"/>
                  <a:gd name="connsiteY7" fmla="*/ 26670 h 92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7650" h="92392">
                    <a:moveTo>
                      <a:pt x="65723" y="26670"/>
                    </a:moveTo>
                    <a:cubicBezTo>
                      <a:pt x="73343" y="26670"/>
                      <a:pt x="80010" y="27622"/>
                      <a:pt x="86677" y="30480"/>
                    </a:cubicBezTo>
                    <a:cubicBezTo>
                      <a:pt x="103823" y="11430"/>
                      <a:pt x="127635" y="0"/>
                      <a:pt x="155258" y="0"/>
                    </a:cubicBezTo>
                    <a:cubicBezTo>
                      <a:pt x="206693" y="0"/>
                      <a:pt x="247650" y="40957"/>
                      <a:pt x="247650" y="92393"/>
                    </a:cubicBezTo>
                    <a:lnTo>
                      <a:pt x="130493" y="92393"/>
                    </a:lnTo>
                    <a:lnTo>
                      <a:pt x="61913" y="92393"/>
                    </a:lnTo>
                    <a:lnTo>
                      <a:pt x="0" y="92393"/>
                    </a:lnTo>
                    <a:cubicBezTo>
                      <a:pt x="0" y="56197"/>
                      <a:pt x="29528" y="26670"/>
                      <a:pt x="65723" y="2667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pic>
        <p:nvPicPr>
          <p:cNvPr id="107" name="图片 106"/>
          <p:cNvPicPr/>
          <p:nvPr/>
        </p:nvPicPr>
        <p:blipFill>
          <a:blip r:embed="rId3"/>
          <a:stretch>
            <a:fillRect/>
          </a:stretch>
        </p:blipFill>
        <p:spPr>
          <a:xfrm>
            <a:off x="1257300" y="1661160"/>
            <a:ext cx="3396615" cy="44259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09" name="图片 108"/>
          <p:cNvPicPr/>
          <p:nvPr/>
        </p:nvPicPr>
        <p:blipFill>
          <a:blip r:embed="rId4"/>
          <a:stretch>
            <a:fillRect/>
          </a:stretch>
        </p:blipFill>
        <p:spPr>
          <a:xfrm>
            <a:off x="4718050" y="1212215"/>
            <a:ext cx="3693795" cy="4878705"/>
          </a:xfrm>
          <a:prstGeom prst="rect">
            <a:avLst/>
          </a:prstGeom>
          <a:noFill/>
          <a:ln w="9525">
            <a:noFill/>
          </a:ln>
        </p:spPr>
      </p:pic>
    </p:spTree>
    <p:custDataLst>
      <p:tags r:id="rId1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/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000" b="0" dirty="0">
                    <a:latin typeface="+mn-lt"/>
                    <a:ea typeface="+mn-ea"/>
                    <a:sym typeface="+mn-lt"/>
                  </a:rPr>
                  <a:t>Introduction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000" b="0" dirty="0">
                    <a:latin typeface="+mn-lt"/>
                    <a:ea typeface="+mn-ea"/>
                    <a:sym typeface="+mn-lt"/>
                  </a:rPr>
                  <a:t>Traditional Method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000" b="0" dirty="0">
                    <a:latin typeface="+mn-lt"/>
                    <a:ea typeface="+mn-ea"/>
                    <a:sym typeface="+mn-lt"/>
                  </a:rPr>
                  <a:t>CNN model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000" b="0" dirty="0">
                    <a:latin typeface="+mn-lt"/>
                    <a:ea typeface="+mn-ea"/>
                    <a:sym typeface="+mn-lt"/>
                  </a:rPr>
                  <a:t>Autoencoder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000" b="0" dirty="0">
                    <a:latin typeface="+mn-lt"/>
                    <a:ea typeface="+mn-ea"/>
                    <a:sym typeface="+mn-lt"/>
                  </a:rPr>
                  <a:t>GAN type model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000" b="0" dirty="0">
                    <a:latin typeface="+mn-lt"/>
                    <a:ea typeface="+mn-ea"/>
                    <a:sym typeface="+mn-lt"/>
                  </a:rPr>
                  <a:t>Summary</a:t>
                </a:r>
              </a:p>
            </p:txBody>
          </p:sp>
          <p:cxnSp>
            <p:nvCxnSpPr>
              <p:cNvPr id="8" name="直接连接符 7"/>
              <p:cNvCxnSpPr/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/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/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esult of autoencoder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0</a:t>
            </a:fld>
            <a:endParaRPr lang="zh-CN" altLang="en-US"/>
          </a:p>
        </p:txBody>
      </p:sp>
      <p:grpSp>
        <p:nvGrpSpPr>
          <p:cNvPr id="5" name="组合 4"/>
          <p:cNvGrpSpPr/>
          <p:nvPr/>
        </p:nvGrpSpPr>
        <p:grpSpPr>
          <a:xfrm>
            <a:off x="8358909" y="5477164"/>
            <a:ext cx="3719729" cy="1298762"/>
            <a:chOff x="2772569" y="2151697"/>
            <a:chExt cx="6719888" cy="2554605"/>
          </a:xfrm>
        </p:grpSpPr>
        <p:grpSp>
          <p:nvGrpSpPr>
            <p:cNvPr id="6" name="组合 5"/>
            <p:cNvGrpSpPr/>
            <p:nvPr/>
          </p:nvGrpSpPr>
          <p:grpSpPr>
            <a:xfrm>
              <a:off x="7873207" y="2151697"/>
              <a:ext cx="1093469" cy="2553652"/>
              <a:chOff x="7838122" y="219075"/>
              <a:chExt cx="1093469" cy="2553652"/>
            </a:xfrm>
          </p:grpSpPr>
          <p:sp>
            <p:nvSpPr>
              <p:cNvPr id="79" name="任意多边形 157"/>
              <p:cNvSpPr/>
              <p:nvPr/>
            </p:nvSpPr>
            <p:spPr>
              <a:xfrm>
                <a:off x="8309609" y="280987"/>
                <a:ext cx="151447" cy="2491740"/>
              </a:xfrm>
              <a:custGeom>
                <a:avLst/>
                <a:gdLst>
                  <a:gd name="connsiteX0" fmla="*/ 151447 w 151447"/>
                  <a:gd name="connsiteY0" fmla="*/ 2491740 h 2491740"/>
                  <a:gd name="connsiteX1" fmla="*/ 0 w 151447"/>
                  <a:gd name="connsiteY1" fmla="*/ 2491740 h 2491740"/>
                  <a:gd name="connsiteX2" fmla="*/ 52388 w 151447"/>
                  <a:gd name="connsiteY2" fmla="*/ 0 h 2491740"/>
                  <a:gd name="connsiteX3" fmla="*/ 99060 w 151447"/>
                  <a:gd name="connsiteY3" fmla="*/ 0 h 249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1447" h="2491740">
                    <a:moveTo>
                      <a:pt x="151447" y="2491740"/>
                    </a:moveTo>
                    <a:lnTo>
                      <a:pt x="0" y="2491740"/>
                    </a:lnTo>
                    <a:lnTo>
                      <a:pt x="52388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80" name="组合 79"/>
              <p:cNvGrpSpPr/>
              <p:nvPr/>
            </p:nvGrpSpPr>
            <p:grpSpPr>
              <a:xfrm>
                <a:off x="7838122" y="219075"/>
                <a:ext cx="1093469" cy="1788795"/>
                <a:chOff x="7838122" y="219075"/>
                <a:chExt cx="1093469" cy="1788795"/>
              </a:xfrm>
            </p:grpSpPr>
            <p:sp>
              <p:nvSpPr>
                <p:cNvPr id="81" name="任意多边形 159"/>
                <p:cNvSpPr/>
                <p:nvPr/>
              </p:nvSpPr>
              <p:spPr>
                <a:xfrm>
                  <a:off x="7838122" y="1418272"/>
                  <a:ext cx="1093469" cy="589597"/>
                </a:xfrm>
                <a:custGeom>
                  <a:avLst/>
                  <a:gdLst>
                    <a:gd name="connsiteX0" fmla="*/ 542925 w 1093469"/>
                    <a:gd name="connsiteY0" fmla="*/ 0 h 589597"/>
                    <a:gd name="connsiteX1" fmla="*/ 0 w 1093469"/>
                    <a:gd name="connsiteY1" fmla="*/ 589598 h 589597"/>
                    <a:gd name="connsiteX2" fmla="*/ 546735 w 1093469"/>
                    <a:gd name="connsiteY2" fmla="*/ 589598 h 589597"/>
                    <a:gd name="connsiteX3" fmla="*/ 1093470 w 1093469"/>
                    <a:gd name="connsiteY3" fmla="*/ 589598 h 589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93469" h="589597">
                      <a:moveTo>
                        <a:pt x="542925" y="0"/>
                      </a:moveTo>
                      <a:lnTo>
                        <a:pt x="0" y="589598"/>
                      </a:lnTo>
                      <a:lnTo>
                        <a:pt x="546735" y="589598"/>
                      </a:lnTo>
                      <a:lnTo>
                        <a:pt x="1093470" y="589598"/>
                      </a:ln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2" name="任意多边形 160"/>
                <p:cNvSpPr/>
                <p:nvPr/>
              </p:nvSpPr>
              <p:spPr>
                <a:xfrm>
                  <a:off x="7892414" y="1091564"/>
                  <a:ext cx="979170" cy="480060"/>
                </a:xfrm>
                <a:custGeom>
                  <a:avLst/>
                  <a:gdLst>
                    <a:gd name="connsiteX0" fmla="*/ 486728 w 979170"/>
                    <a:gd name="connsiteY0" fmla="*/ 0 h 480060"/>
                    <a:gd name="connsiteX1" fmla="*/ 0 w 979170"/>
                    <a:gd name="connsiteY1" fmla="*/ 480060 h 480060"/>
                    <a:gd name="connsiteX2" fmla="*/ 489585 w 979170"/>
                    <a:gd name="connsiteY2" fmla="*/ 480060 h 480060"/>
                    <a:gd name="connsiteX3" fmla="*/ 979170 w 979170"/>
                    <a:gd name="connsiteY3" fmla="*/ 480060 h 4800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9170" h="480060">
                      <a:moveTo>
                        <a:pt x="486728" y="0"/>
                      </a:moveTo>
                      <a:lnTo>
                        <a:pt x="0" y="480060"/>
                      </a:lnTo>
                      <a:lnTo>
                        <a:pt x="489585" y="480060"/>
                      </a:lnTo>
                      <a:lnTo>
                        <a:pt x="979170" y="480060"/>
                      </a:ln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3" name="任意多边形 161"/>
                <p:cNvSpPr/>
                <p:nvPr/>
              </p:nvSpPr>
              <p:spPr>
                <a:xfrm>
                  <a:off x="7937181" y="819150"/>
                  <a:ext cx="886777" cy="398145"/>
                </a:xfrm>
                <a:custGeom>
                  <a:avLst/>
                  <a:gdLst>
                    <a:gd name="connsiteX0" fmla="*/ 441007 w 886777"/>
                    <a:gd name="connsiteY0" fmla="*/ 0 h 398145"/>
                    <a:gd name="connsiteX1" fmla="*/ 0 w 886777"/>
                    <a:gd name="connsiteY1" fmla="*/ 398145 h 398145"/>
                    <a:gd name="connsiteX2" fmla="*/ 442913 w 886777"/>
                    <a:gd name="connsiteY2" fmla="*/ 398145 h 398145"/>
                    <a:gd name="connsiteX3" fmla="*/ 886778 w 886777"/>
                    <a:gd name="connsiteY3" fmla="*/ 398145 h 3981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86777" h="398145">
                      <a:moveTo>
                        <a:pt x="441007" y="0"/>
                      </a:moveTo>
                      <a:lnTo>
                        <a:pt x="0" y="398145"/>
                      </a:lnTo>
                      <a:lnTo>
                        <a:pt x="442913" y="398145"/>
                      </a:lnTo>
                      <a:lnTo>
                        <a:pt x="886778" y="398145"/>
                      </a:ln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4" name="任意多边形 162"/>
                <p:cNvSpPr/>
                <p:nvPr/>
              </p:nvSpPr>
              <p:spPr>
                <a:xfrm>
                  <a:off x="7973376" y="587692"/>
                  <a:ext cx="809625" cy="336232"/>
                </a:xfrm>
                <a:custGeom>
                  <a:avLst/>
                  <a:gdLst>
                    <a:gd name="connsiteX0" fmla="*/ 402908 w 809625"/>
                    <a:gd name="connsiteY0" fmla="*/ 0 h 336232"/>
                    <a:gd name="connsiteX1" fmla="*/ 0 w 809625"/>
                    <a:gd name="connsiteY1" fmla="*/ 336233 h 336232"/>
                    <a:gd name="connsiteX2" fmla="*/ 404813 w 809625"/>
                    <a:gd name="connsiteY2" fmla="*/ 336233 h 336232"/>
                    <a:gd name="connsiteX3" fmla="*/ 809625 w 809625"/>
                    <a:gd name="connsiteY3" fmla="*/ 336233 h 336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9625" h="336232">
                      <a:moveTo>
                        <a:pt x="402908" y="0"/>
                      </a:moveTo>
                      <a:lnTo>
                        <a:pt x="0" y="336233"/>
                      </a:lnTo>
                      <a:lnTo>
                        <a:pt x="404813" y="336233"/>
                      </a:lnTo>
                      <a:lnTo>
                        <a:pt x="809625" y="336233"/>
                      </a:lnTo>
                      <a:close/>
                    </a:path>
                  </a:pathLst>
                </a:custGeom>
                <a:solidFill>
                  <a:srgbClr val="45BC5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5" name="任意多边形 163"/>
                <p:cNvSpPr/>
                <p:nvPr/>
              </p:nvSpPr>
              <p:spPr>
                <a:xfrm>
                  <a:off x="8003856" y="390525"/>
                  <a:ext cx="745807" cy="286702"/>
                </a:xfrm>
                <a:custGeom>
                  <a:avLst/>
                  <a:gdLst>
                    <a:gd name="connsiteX0" fmla="*/ 371475 w 745807"/>
                    <a:gd name="connsiteY0" fmla="*/ 0 h 286702"/>
                    <a:gd name="connsiteX1" fmla="*/ 0 w 745807"/>
                    <a:gd name="connsiteY1" fmla="*/ 286703 h 286702"/>
                    <a:gd name="connsiteX2" fmla="*/ 373380 w 745807"/>
                    <a:gd name="connsiteY2" fmla="*/ 286703 h 286702"/>
                    <a:gd name="connsiteX3" fmla="*/ 745807 w 745807"/>
                    <a:gd name="connsiteY3" fmla="*/ 286703 h 286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5807" h="286702">
                      <a:moveTo>
                        <a:pt x="371475" y="0"/>
                      </a:moveTo>
                      <a:lnTo>
                        <a:pt x="0" y="286703"/>
                      </a:lnTo>
                      <a:lnTo>
                        <a:pt x="373380" y="286703"/>
                      </a:lnTo>
                      <a:lnTo>
                        <a:pt x="745807" y="286703"/>
                      </a:ln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6" name="任意多边形 164"/>
                <p:cNvSpPr/>
                <p:nvPr/>
              </p:nvSpPr>
              <p:spPr>
                <a:xfrm>
                  <a:off x="8030526" y="219075"/>
                  <a:ext cx="690562" cy="248602"/>
                </a:xfrm>
                <a:custGeom>
                  <a:avLst/>
                  <a:gdLst>
                    <a:gd name="connsiteX0" fmla="*/ 343853 w 690562"/>
                    <a:gd name="connsiteY0" fmla="*/ 0 h 248602"/>
                    <a:gd name="connsiteX1" fmla="*/ 0 w 690562"/>
                    <a:gd name="connsiteY1" fmla="*/ 248603 h 248602"/>
                    <a:gd name="connsiteX2" fmla="*/ 344805 w 690562"/>
                    <a:gd name="connsiteY2" fmla="*/ 248603 h 248602"/>
                    <a:gd name="connsiteX3" fmla="*/ 690563 w 690562"/>
                    <a:gd name="connsiteY3" fmla="*/ 248603 h 2486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0562" h="248602">
                      <a:moveTo>
                        <a:pt x="343853" y="0"/>
                      </a:moveTo>
                      <a:lnTo>
                        <a:pt x="0" y="248603"/>
                      </a:lnTo>
                      <a:lnTo>
                        <a:pt x="344805" y="248603"/>
                      </a:lnTo>
                      <a:lnTo>
                        <a:pt x="690563" y="248603"/>
                      </a:ln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7" name="组合 6"/>
            <p:cNvGrpSpPr/>
            <p:nvPr/>
          </p:nvGrpSpPr>
          <p:grpSpPr>
            <a:xfrm>
              <a:off x="5240497" y="2258376"/>
              <a:ext cx="1892617" cy="2446972"/>
              <a:chOff x="5205412" y="325754"/>
              <a:chExt cx="1892617" cy="2446972"/>
            </a:xfrm>
          </p:grpSpPr>
          <p:sp>
            <p:nvSpPr>
              <p:cNvPr id="67" name="任意多边形 168"/>
              <p:cNvSpPr/>
              <p:nvPr/>
            </p:nvSpPr>
            <p:spPr>
              <a:xfrm>
                <a:off x="6055042" y="425767"/>
                <a:ext cx="194309" cy="2346960"/>
              </a:xfrm>
              <a:custGeom>
                <a:avLst/>
                <a:gdLst>
                  <a:gd name="connsiteX0" fmla="*/ 194310 w 194309"/>
                  <a:gd name="connsiteY0" fmla="*/ 2346960 h 2346960"/>
                  <a:gd name="connsiteX1" fmla="*/ 0 w 194309"/>
                  <a:gd name="connsiteY1" fmla="*/ 2346960 h 2346960"/>
                  <a:gd name="connsiteX2" fmla="*/ 66675 w 194309"/>
                  <a:gd name="connsiteY2" fmla="*/ 0 h 2346960"/>
                  <a:gd name="connsiteX3" fmla="*/ 127635 w 194309"/>
                  <a:gd name="connsiteY3" fmla="*/ 0 h 2346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4309" h="2346960">
                    <a:moveTo>
                      <a:pt x="194310" y="2346960"/>
                    </a:moveTo>
                    <a:lnTo>
                      <a:pt x="0" y="2346960"/>
                    </a:lnTo>
                    <a:lnTo>
                      <a:pt x="66675" y="0"/>
                    </a:lnTo>
                    <a:lnTo>
                      <a:pt x="127635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8" name="组合 67"/>
              <p:cNvGrpSpPr/>
              <p:nvPr/>
            </p:nvGrpSpPr>
            <p:grpSpPr>
              <a:xfrm>
                <a:off x="5205412" y="325754"/>
                <a:ext cx="1892617" cy="1728787"/>
                <a:chOff x="5205412" y="325754"/>
                <a:chExt cx="1892617" cy="1728787"/>
              </a:xfrm>
            </p:grpSpPr>
            <p:sp>
              <p:nvSpPr>
                <p:cNvPr id="69" name="任意多边形 170"/>
                <p:cNvSpPr/>
                <p:nvPr/>
              </p:nvSpPr>
              <p:spPr>
                <a:xfrm>
                  <a:off x="5354954" y="596264"/>
                  <a:ext cx="741044" cy="741045"/>
                </a:xfrm>
                <a:custGeom>
                  <a:avLst/>
                  <a:gdLst>
                    <a:gd name="connsiteX0" fmla="*/ 741045 w 741044"/>
                    <a:gd name="connsiteY0" fmla="*/ 370523 h 741045"/>
                    <a:gd name="connsiteX1" fmla="*/ 370522 w 741044"/>
                    <a:gd name="connsiteY1" fmla="*/ 741045 h 741045"/>
                    <a:gd name="connsiteX2" fmla="*/ 0 w 741044"/>
                    <a:gd name="connsiteY2" fmla="*/ 370523 h 741045"/>
                    <a:gd name="connsiteX3" fmla="*/ 370522 w 741044"/>
                    <a:gd name="connsiteY3" fmla="*/ 0 h 741045"/>
                    <a:gd name="connsiteX4" fmla="*/ 741045 w 741044"/>
                    <a:gd name="connsiteY4" fmla="*/ 370523 h 741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1044" h="741045">
                      <a:moveTo>
                        <a:pt x="741045" y="370523"/>
                      </a:moveTo>
                      <a:cubicBezTo>
                        <a:pt x="741045" y="575310"/>
                        <a:pt x="575310" y="741045"/>
                        <a:pt x="370522" y="741045"/>
                      </a:cubicBezTo>
                      <a:cubicBezTo>
                        <a:pt x="165735" y="741045"/>
                        <a:pt x="0" y="575310"/>
                        <a:pt x="0" y="370523"/>
                      </a:cubicBezTo>
                      <a:cubicBezTo>
                        <a:pt x="0" y="165735"/>
                        <a:pt x="165735" y="0"/>
                        <a:pt x="370522" y="0"/>
                      </a:cubicBezTo>
                      <a:cubicBezTo>
                        <a:pt x="574357" y="0"/>
                        <a:pt x="741045" y="165735"/>
                        <a:pt x="741045" y="370523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0" name="任意多边形 171"/>
                <p:cNvSpPr/>
                <p:nvPr/>
              </p:nvSpPr>
              <p:spPr>
                <a:xfrm>
                  <a:off x="6587489" y="866769"/>
                  <a:ext cx="510540" cy="510545"/>
                </a:xfrm>
                <a:custGeom>
                  <a:avLst/>
                  <a:gdLst>
                    <a:gd name="connsiteX0" fmla="*/ 510540 w 510540"/>
                    <a:gd name="connsiteY0" fmla="*/ 255276 h 510545"/>
                    <a:gd name="connsiteX1" fmla="*/ 255270 w 510540"/>
                    <a:gd name="connsiteY1" fmla="*/ 510546 h 510545"/>
                    <a:gd name="connsiteX2" fmla="*/ 0 w 510540"/>
                    <a:gd name="connsiteY2" fmla="*/ 255276 h 510545"/>
                    <a:gd name="connsiteX3" fmla="*/ 255270 w 510540"/>
                    <a:gd name="connsiteY3" fmla="*/ 6 h 510545"/>
                    <a:gd name="connsiteX4" fmla="*/ 510540 w 510540"/>
                    <a:gd name="connsiteY4" fmla="*/ 255276 h 5105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0540" h="510545">
                      <a:moveTo>
                        <a:pt x="510540" y="255276"/>
                      </a:moveTo>
                      <a:cubicBezTo>
                        <a:pt x="510540" y="396246"/>
                        <a:pt x="396240" y="510546"/>
                        <a:pt x="255270" y="510546"/>
                      </a:cubicBezTo>
                      <a:cubicBezTo>
                        <a:pt x="114300" y="510546"/>
                        <a:pt x="0" y="396246"/>
                        <a:pt x="0" y="255276"/>
                      </a:cubicBezTo>
                      <a:cubicBezTo>
                        <a:pt x="0" y="114306"/>
                        <a:pt x="114300" y="6"/>
                        <a:pt x="255270" y="6"/>
                      </a:cubicBezTo>
                      <a:cubicBezTo>
                        <a:pt x="396240" y="-947"/>
                        <a:pt x="510540" y="114306"/>
                        <a:pt x="510540" y="255276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1" name="任意多边形 172"/>
                <p:cNvSpPr/>
                <p:nvPr/>
              </p:nvSpPr>
              <p:spPr>
                <a:xfrm>
                  <a:off x="5427344" y="545782"/>
                  <a:ext cx="1508760" cy="1508759"/>
                </a:xfrm>
                <a:custGeom>
                  <a:avLst/>
                  <a:gdLst>
                    <a:gd name="connsiteX0" fmla="*/ 1508760 w 1508760"/>
                    <a:gd name="connsiteY0" fmla="*/ 754380 h 1508759"/>
                    <a:gd name="connsiteX1" fmla="*/ 754380 w 1508760"/>
                    <a:gd name="connsiteY1" fmla="*/ 1508760 h 1508759"/>
                    <a:gd name="connsiteX2" fmla="*/ 0 w 1508760"/>
                    <a:gd name="connsiteY2" fmla="*/ 754380 h 1508759"/>
                    <a:gd name="connsiteX3" fmla="*/ 754380 w 1508760"/>
                    <a:gd name="connsiteY3" fmla="*/ 0 h 1508759"/>
                    <a:gd name="connsiteX4" fmla="*/ 1508760 w 1508760"/>
                    <a:gd name="connsiteY4" fmla="*/ 754380 h 1508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760" h="1508759">
                      <a:moveTo>
                        <a:pt x="1508760" y="754380"/>
                      </a:moveTo>
                      <a:cubicBezTo>
                        <a:pt x="1508760" y="1170623"/>
                        <a:pt x="1171575" y="1508760"/>
                        <a:pt x="754380" y="1508760"/>
                      </a:cubicBezTo>
                      <a:cubicBezTo>
                        <a:pt x="338138" y="1508760"/>
                        <a:pt x="0" y="1171575"/>
                        <a:pt x="0" y="754380"/>
                      </a:cubicBezTo>
                      <a:cubicBezTo>
                        <a:pt x="0" y="338138"/>
                        <a:pt x="337185" y="0"/>
                        <a:pt x="754380" y="0"/>
                      </a:cubicBezTo>
                      <a:cubicBezTo>
                        <a:pt x="1171575" y="953"/>
                        <a:pt x="1508760" y="338138"/>
                        <a:pt x="1508760" y="754380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2" name="任意多边形 173"/>
                <p:cNvSpPr/>
                <p:nvPr/>
              </p:nvSpPr>
              <p:spPr>
                <a:xfrm>
                  <a:off x="5205412" y="1026795"/>
                  <a:ext cx="798194" cy="798195"/>
                </a:xfrm>
                <a:custGeom>
                  <a:avLst/>
                  <a:gdLst>
                    <a:gd name="connsiteX0" fmla="*/ 798195 w 798194"/>
                    <a:gd name="connsiteY0" fmla="*/ 399097 h 798195"/>
                    <a:gd name="connsiteX1" fmla="*/ 399097 w 798194"/>
                    <a:gd name="connsiteY1" fmla="*/ 798195 h 798195"/>
                    <a:gd name="connsiteX2" fmla="*/ 0 w 798194"/>
                    <a:gd name="connsiteY2" fmla="*/ 399097 h 798195"/>
                    <a:gd name="connsiteX3" fmla="*/ 399097 w 798194"/>
                    <a:gd name="connsiteY3" fmla="*/ 0 h 798195"/>
                    <a:gd name="connsiteX4" fmla="*/ 798195 w 798194"/>
                    <a:gd name="connsiteY4" fmla="*/ 399097 h 798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98194" h="798195">
                      <a:moveTo>
                        <a:pt x="798195" y="399097"/>
                      </a:moveTo>
                      <a:cubicBezTo>
                        <a:pt x="798195" y="619125"/>
                        <a:pt x="619125" y="798195"/>
                        <a:pt x="399097" y="798195"/>
                      </a:cubicBezTo>
                      <a:cubicBezTo>
                        <a:pt x="179070" y="798195"/>
                        <a:pt x="0" y="619125"/>
                        <a:pt x="0" y="399097"/>
                      </a:cubicBezTo>
                      <a:cubicBezTo>
                        <a:pt x="0" y="179070"/>
                        <a:pt x="179070" y="0"/>
                        <a:pt x="399097" y="0"/>
                      </a:cubicBezTo>
                      <a:cubicBezTo>
                        <a:pt x="619125" y="0"/>
                        <a:pt x="798195" y="179070"/>
                        <a:pt x="798195" y="399097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3" name="任意多边形 174"/>
                <p:cNvSpPr/>
                <p:nvPr/>
              </p:nvSpPr>
              <p:spPr>
                <a:xfrm>
                  <a:off x="6276021" y="1425892"/>
                  <a:ext cx="609600" cy="609600"/>
                </a:xfrm>
                <a:custGeom>
                  <a:avLst/>
                  <a:gdLst>
                    <a:gd name="connsiteX0" fmla="*/ 609600 w 609600"/>
                    <a:gd name="connsiteY0" fmla="*/ 304800 h 609600"/>
                    <a:gd name="connsiteX1" fmla="*/ 304800 w 609600"/>
                    <a:gd name="connsiteY1" fmla="*/ 609600 h 609600"/>
                    <a:gd name="connsiteX2" fmla="*/ 0 w 609600"/>
                    <a:gd name="connsiteY2" fmla="*/ 304800 h 609600"/>
                    <a:gd name="connsiteX3" fmla="*/ 304800 w 609600"/>
                    <a:gd name="connsiteY3" fmla="*/ 0 h 609600"/>
                    <a:gd name="connsiteX4" fmla="*/ 609600 w 609600"/>
                    <a:gd name="connsiteY4" fmla="*/ 304800 h 609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9600" h="609600">
                      <a:moveTo>
                        <a:pt x="609600" y="304800"/>
                      </a:moveTo>
                      <a:cubicBezTo>
                        <a:pt x="609600" y="473392"/>
                        <a:pt x="473393" y="609600"/>
                        <a:pt x="304800" y="609600"/>
                      </a:cubicBezTo>
                      <a:cubicBezTo>
                        <a:pt x="136208" y="609600"/>
                        <a:pt x="0" y="473392"/>
                        <a:pt x="0" y="304800"/>
                      </a:cubicBezTo>
                      <a:cubicBezTo>
                        <a:pt x="0" y="136208"/>
                        <a:pt x="136208" y="0"/>
                        <a:pt x="304800" y="0"/>
                      </a:cubicBezTo>
                      <a:cubicBezTo>
                        <a:pt x="473393" y="0"/>
                        <a:pt x="609600" y="136208"/>
                        <a:pt x="609600" y="30480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4" name="任意多边形 175"/>
                <p:cNvSpPr/>
                <p:nvPr/>
              </p:nvSpPr>
              <p:spPr>
                <a:xfrm>
                  <a:off x="5838824" y="325754"/>
                  <a:ext cx="1003934" cy="1003934"/>
                </a:xfrm>
                <a:custGeom>
                  <a:avLst/>
                  <a:gdLst>
                    <a:gd name="connsiteX0" fmla="*/ 1003935 w 1003934"/>
                    <a:gd name="connsiteY0" fmla="*/ 501968 h 1003934"/>
                    <a:gd name="connsiteX1" fmla="*/ 501968 w 1003934"/>
                    <a:gd name="connsiteY1" fmla="*/ 1003935 h 1003934"/>
                    <a:gd name="connsiteX2" fmla="*/ 0 w 1003934"/>
                    <a:gd name="connsiteY2" fmla="*/ 501968 h 1003934"/>
                    <a:gd name="connsiteX3" fmla="*/ 501968 w 1003934"/>
                    <a:gd name="connsiteY3" fmla="*/ 0 h 1003934"/>
                    <a:gd name="connsiteX4" fmla="*/ 1003935 w 1003934"/>
                    <a:gd name="connsiteY4" fmla="*/ 501968 h 1003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3934" h="1003934">
                      <a:moveTo>
                        <a:pt x="1003935" y="501968"/>
                      </a:moveTo>
                      <a:cubicBezTo>
                        <a:pt x="1003935" y="779145"/>
                        <a:pt x="779145" y="1003935"/>
                        <a:pt x="501968" y="1003935"/>
                      </a:cubicBezTo>
                      <a:cubicBezTo>
                        <a:pt x="224790" y="1003935"/>
                        <a:pt x="0" y="779145"/>
                        <a:pt x="0" y="501968"/>
                      </a:cubicBezTo>
                      <a:cubicBezTo>
                        <a:pt x="0" y="224790"/>
                        <a:pt x="224790" y="0"/>
                        <a:pt x="501968" y="0"/>
                      </a:cubicBezTo>
                      <a:cubicBezTo>
                        <a:pt x="779145" y="0"/>
                        <a:pt x="1003935" y="224790"/>
                        <a:pt x="1003935" y="501968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5" name="任意多边形 176"/>
                <p:cNvSpPr/>
                <p:nvPr/>
              </p:nvSpPr>
              <p:spPr>
                <a:xfrm>
                  <a:off x="6095046" y="1067752"/>
                  <a:ext cx="716280" cy="716280"/>
                </a:xfrm>
                <a:custGeom>
                  <a:avLst/>
                  <a:gdLst>
                    <a:gd name="connsiteX0" fmla="*/ 716280 w 716280"/>
                    <a:gd name="connsiteY0" fmla="*/ 358140 h 716280"/>
                    <a:gd name="connsiteX1" fmla="*/ 358140 w 716280"/>
                    <a:gd name="connsiteY1" fmla="*/ 716280 h 716280"/>
                    <a:gd name="connsiteX2" fmla="*/ 0 w 716280"/>
                    <a:gd name="connsiteY2" fmla="*/ 358140 h 716280"/>
                    <a:gd name="connsiteX3" fmla="*/ 358140 w 716280"/>
                    <a:gd name="connsiteY3" fmla="*/ 0 h 716280"/>
                    <a:gd name="connsiteX4" fmla="*/ 716280 w 716280"/>
                    <a:gd name="connsiteY4" fmla="*/ 358140 h 716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6280" h="716280">
                      <a:moveTo>
                        <a:pt x="716280" y="358140"/>
                      </a:moveTo>
                      <a:cubicBezTo>
                        <a:pt x="716280" y="556260"/>
                        <a:pt x="556260" y="716280"/>
                        <a:pt x="358140" y="716280"/>
                      </a:cubicBezTo>
                      <a:cubicBezTo>
                        <a:pt x="160020" y="716280"/>
                        <a:pt x="0" y="556260"/>
                        <a:pt x="0" y="358140"/>
                      </a:cubicBezTo>
                      <a:cubicBezTo>
                        <a:pt x="0" y="160020"/>
                        <a:pt x="160020" y="0"/>
                        <a:pt x="358140" y="0"/>
                      </a:cubicBezTo>
                      <a:cubicBezTo>
                        <a:pt x="556260" y="0"/>
                        <a:pt x="716280" y="160020"/>
                        <a:pt x="716280" y="35814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" name="任意多边形 177"/>
                <p:cNvSpPr/>
                <p:nvPr/>
              </p:nvSpPr>
              <p:spPr>
                <a:xfrm>
                  <a:off x="5825489" y="1122045"/>
                  <a:ext cx="356234" cy="356234"/>
                </a:xfrm>
                <a:custGeom>
                  <a:avLst/>
                  <a:gdLst>
                    <a:gd name="connsiteX0" fmla="*/ 356235 w 356234"/>
                    <a:gd name="connsiteY0" fmla="*/ 178117 h 356234"/>
                    <a:gd name="connsiteX1" fmla="*/ 178117 w 356234"/>
                    <a:gd name="connsiteY1" fmla="*/ 356235 h 356234"/>
                    <a:gd name="connsiteX2" fmla="*/ 0 w 356234"/>
                    <a:gd name="connsiteY2" fmla="*/ 178117 h 356234"/>
                    <a:gd name="connsiteX3" fmla="*/ 178117 w 356234"/>
                    <a:gd name="connsiteY3" fmla="*/ 0 h 356234"/>
                    <a:gd name="connsiteX4" fmla="*/ 356235 w 356234"/>
                    <a:gd name="connsiteY4" fmla="*/ 178117 h 3562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234" h="356234">
                      <a:moveTo>
                        <a:pt x="356235" y="178117"/>
                      </a:moveTo>
                      <a:cubicBezTo>
                        <a:pt x="356235" y="276225"/>
                        <a:pt x="276225" y="356235"/>
                        <a:pt x="178117" y="356235"/>
                      </a:cubicBezTo>
                      <a:cubicBezTo>
                        <a:pt x="80010" y="356235"/>
                        <a:pt x="0" y="276225"/>
                        <a:pt x="0" y="178117"/>
                      </a:cubicBezTo>
                      <a:cubicBezTo>
                        <a:pt x="0" y="80010"/>
                        <a:pt x="80010" y="0"/>
                        <a:pt x="178117" y="0"/>
                      </a:cubicBezTo>
                      <a:cubicBezTo>
                        <a:pt x="277178" y="0"/>
                        <a:pt x="356235" y="80010"/>
                        <a:pt x="356235" y="178117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7" name="任意多边形 178"/>
                <p:cNvSpPr/>
                <p:nvPr/>
              </p:nvSpPr>
              <p:spPr>
                <a:xfrm>
                  <a:off x="6644639" y="1199197"/>
                  <a:ext cx="419100" cy="419099"/>
                </a:xfrm>
                <a:custGeom>
                  <a:avLst/>
                  <a:gdLst>
                    <a:gd name="connsiteX0" fmla="*/ 419100 w 419100"/>
                    <a:gd name="connsiteY0" fmla="*/ 209550 h 419099"/>
                    <a:gd name="connsiteX1" fmla="*/ 209550 w 419100"/>
                    <a:gd name="connsiteY1" fmla="*/ 419100 h 419099"/>
                    <a:gd name="connsiteX2" fmla="*/ 0 w 419100"/>
                    <a:gd name="connsiteY2" fmla="*/ 209550 h 419099"/>
                    <a:gd name="connsiteX3" fmla="*/ 209550 w 419100"/>
                    <a:gd name="connsiteY3" fmla="*/ 0 h 419099"/>
                    <a:gd name="connsiteX4" fmla="*/ 419100 w 419100"/>
                    <a:gd name="connsiteY4" fmla="*/ 209550 h 419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9100" h="419099">
                      <a:moveTo>
                        <a:pt x="419100" y="209550"/>
                      </a:moveTo>
                      <a:cubicBezTo>
                        <a:pt x="419100" y="325755"/>
                        <a:pt x="324803" y="419100"/>
                        <a:pt x="209550" y="419100"/>
                      </a:cubicBezTo>
                      <a:cubicBezTo>
                        <a:pt x="93345" y="419100"/>
                        <a:pt x="0" y="324803"/>
                        <a:pt x="0" y="209550"/>
                      </a:cubicBezTo>
                      <a:cubicBezTo>
                        <a:pt x="0" y="93345"/>
                        <a:pt x="94297" y="0"/>
                        <a:pt x="209550" y="0"/>
                      </a:cubicBezTo>
                      <a:cubicBezTo>
                        <a:pt x="325755" y="0"/>
                        <a:pt x="419100" y="94298"/>
                        <a:pt x="419100" y="20955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8" name="任意多边形 179"/>
                <p:cNvSpPr/>
                <p:nvPr/>
              </p:nvSpPr>
              <p:spPr>
                <a:xfrm>
                  <a:off x="5653087" y="1349692"/>
                  <a:ext cx="499109" cy="499110"/>
                </a:xfrm>
                <a:custGeom>
                  <a:avLst/>
                  <a:gdLst>
                    <a:gd name="connsiteX0" fmla="*/ 499110 w 499109"/>
                    <a:gd name="connsiteY0" fmla="*/ 249555 h 499110"/>
                    <a:gd name="connsiteX1" fmla="*/ 249555 w 499109"/>
                    <a:gd name="connsiteY1" fmla="*/ 499110 h 499110"/>
                    <a:gd name="connsiteX2" fmla="*/ 0 w 499109"/>
                    <a:gd name="connsiteY2" fmla="*/ 249555 h 499110"/>
                    <a:gd name="connsiteX3" fmla="*/ 249555 w 499109"/>
                    <a:gd name="connsiteY3" fmla="*/ 0 h 499110"/>
                    <a:gd name="connsiteX4" fmla="*/ 499110 w 499109"/>
                    <a:gd name="connsiteY4" fmla="*/ 249555 h 499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9109" h="499110">
                      <a:moveTo>
                        <a:pt x="499110" y="249555"/>
                      </a:moveTo>
                      <a:cubicBezTo>
                        <a:pt x="499110" y="387667"/>
                        <a:pt x="387668" y="499110"/>
                        <a:pt x="249555" y="499110"/>
                      </a:cubicBezTo>
                      <a:cubicBezTo>
                        <a:pt x="111443" y="499110"/>
                        <a:pt x="0" y="387667"/>
                        <a:pt x="0" y="249555"/>
                      </a:cubicBezTo>
                      <a:cubicBezTo>
                        <a:pt x="0" y="111442"/>
                        <a:pt x="111443" y="0"/>
                        <a:pt x="249555" y="0"/>
                      </a:cubicBezTo>
                      <a:cubicBezTo>
                        <a:pt x="386715" y="0"/>
                        <a:pt x="499110" y="111442"/>
                        <a:pt x="499110" y="249555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8" name="组合 7"/>
            <p:cNvGrpSpPr/>
            <p:nvPr/>
          </p:nvGrpSpPr>
          <p:grpSpPr>
            <a:xfrm>
              <a:off x="3252047" y="2196916"/>
              <a:ext cx="995191" cy="2508433"/>
              <a:chOff x="3216962" y="264294"/>
              <a:chExt cx="995191" cy="2508433"/>
            </a:xfrm>
          </p:grpSpPr>
          <p:sp>
            <p:nvSpPr>
              <p:cNvPr id="56" name="任意多边形 183"/>
              <p:cNvSpPr/>
              <p:nvPr/>
            </p:nvSpPr>
            <p:spPr>
              <a:xfrm>
                <a:off x="3281110" y="264294"/>
                <a:ext cx="868010" cy="2011450"/>
              </a:xfrm>
              <a:custGeom>
                <a:avLst/>
                <a:gdLst>
                  <a:gd name="connsiteX0" fmla="*/ 526032 w 868010"/>
                  <a:gd name="connsiteY0" fmla="*/ 1999798 h 2011450"/>
                  <a:gd name="connsiteX1" fmla="*/ 838452 w 868010"/>
                  <a:gd name="connsiteY1" fmla="*/ 1649278 h 2011450"/>
                  <a:gd name="connsiteX2" fmla="*/ 768919 w 868010"/>
                  <a:gd name="connsiteY2" fmla="*/ 172903 h 2011450"/>
                  <a:gd name="connsiteX3" fmla="*/ 105979 w 868010"/>
                  <a:gd name="connsiteY3" fmla="*/ 97656 h 2011450"/>
                  <a:gd name="connsiteX4" fmla="*/ 35495 w 868010"/>
                  <a:gd name="connsiteY4" fmla="*/ 1321618 h 2011450"/>
                  <a:gd name="connsiteX5" fmla="*/ 526032 w 868010"/>
                  <a:gd name="connsiteY5" fmla="*/ 1999798 h 201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8010" h="2011450">
                    <a:moveTo>
                      <a:pt x="526032" y="1999798"/>
                    </a:moveTo>
                    <a:cubicBezTo>
                      <a:pt x="643190" y="1975033"/>
                      <a:pt x="826069" y="1932171"/>
                      <a:pt x="838452" y="1649278"/>
                    </a:cubicBezTo>
                    <a:cubicBezTo>
                      <a:pt x="850835" y="1367338"/>
                      <a:pt x="927987" y="352926"/>
                      <a:pt x="768919" y="172903"/>
                    </a:cubicBezTo>
                    <a:cubicBezTo>
                      <a:pt x="609852" y="-8072"/>
                      <a:pt x="305052" y="-69032"/>
                      <a:pt x="105979" y="97656"/>
                    </a:cubicBezTo>
                    <a:cubicBezTo>
                      <a:pt x="-93093" y="263391"/>
                      <a:pt x="52639" y="1125403"/>
                      <a:pt x="35495" y="1321618"/>
                    </a:cubicBezTo>
                    <a:cubicBezTo>
                      <a:pt x="17397" y="1517833"/>
                      <a:pt x="42162" y="2100763"/>
                      <a:pt x="526032" y="19997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 184"/>
              <p:cNvSpPr/>
              <p:nvPr/>
            </p:nvSpPr>
            <p:spPr>
              <a:xfrm>
                <a:off x="3702315" y="1480537"/>
                <a:ext cx="489368" cy="580319"/>
              </a:xfrm>
              <a:custGeom>
                <a:avLst/>
                <a:gdLst>
                  <a:gd name="connsiteX0" fmla="*/ 230556 w 489368"/>
                  <a:gd name="connsiteY0" fmla="*/ 579720 h 580319"/>
                  <a:gd name="connsiteX1" fmla="*/ 462966 w 489368"/>
                  <a:gd name="connsiteY1" fmla="*/ 432083 h 580319"/>
                  <a:gd name="connsiteX2" fmla="*/ 380099 w 489368"/>
                  <a:gd name="connsiteY2" fmla="*/ 32985 h 580319"/>
                  <a:gd name="connsiteX3" fmla="*/ 21006 w 489368"/>
                  <a:gd name="connsiteY3" fmla="*/ 136808 h 580319"/>
                  <a:gd name="connsiteX4" fmla="*/ 230556 w 489368"/>
                  <a:gd name="connsiteY4" fmla="*/ 579720 h 580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9368" h="580319">
                    <a:moveTo>
                      <a:pt x="230556" y="579720"/>
                    </a:moveTo>
                    <a:cubicBezTo>
                      <a:pt x="335331" y="573053"/>
                      <a:pt x="423914" y="542573"/>
                      <a:pt x="462966" y="432083"/>
                    </a:cubicBezTo>
                    <a:cubicBezTo>
                      <a:pt x="502019" y="321593"/>
                      <a:pt x="514401" y="113948"/>
                      <a:pt x="380099" y="32985"/>
                    </a:cubicBezTo>
                    <a:cubicBezTo>
                      <a:pt x="246749" y="-47977"/>
                      <a:pt x="58154" y="32985"/>
                      <a:pt x="21006" y="136808"/>
                    </a:cubicBezTo>
                    <a:cubicBezTo>
                      <a:pt x="-16141" y="241583"/>
                      <a:pt x="-33286" y="596865"/>
                      <a:pt x="230556" y="57972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 185"/>
              <p:cNvSpPr/>
              <p:nvPr/>
            </p:nvSpPr>
            <p:spPr>
              <a:xfrm>
                <a:off x="3653789" y="948689"/>
                <a:ext cx="150495" cy="1824037"/>
              </a:xfrm>
              <a:custGeom>
                <a:avLst/>
                <a:gdLst>
                  <a:gd name="connsiteX0" fmla="*/ 150495 w 150495"/>
                  <a:gd name="connsiteY0" fmla="*/ 1824038 h 1824037"/>
                  <a:gd name="connsiteX1" fmla="*/ 0 w 150495"/>
                  <a:gd name="connsiteY1" fmla="*/ 1824038 h 1824037"/>
                  <a:gd name="connsiteX2" fmla="*/ 51435 w 150495"/>
                  <a:gd name="connsiteY2" fmla="*/ 0 h 1824037"/>
                  <a:gd name="connsiteX3" fmla="*/ 99060 w 150495"/>
                  <a:gd name="connsiteY3" fmla="*/ 0 h 1824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495" h="1824037">
                    <a:moveTo>
                      <a:pt x="150495" y="1824038"/>
                    </a:moveTo>
                    <a:lnTo>
                      <a:pt x="0" y="1824038"/>
                    </a:lnTo>
                    <a:lnTo>
                      <a:pt x="51435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 186"/>
              <p:cNvSpPr/>
              <p:nvPr/>
            </p:nvSpPr>
            <p:spPr>
              <a:xfrm>
                <a:off x="3443804" y="838200"/>
                <a:ext cx="284279" cy="289560"/>
              </a:xfrm>
              <a:custGeom>
                <a:avLst/>
                <a:gdLst>
                  <a:gd name="connsiteX0" fmla="*/ 284280 w 284279"/>
                  <a:gd name="connsiteY0" fmla="*/ 235267 h 289560"/>
                  <a:gd name="connsiteX1" fmla="*/ 64252 w 284279"/>
                  <a:gd name="connsiteY1" fmla="*/ 0 h 289560"/>
                  <a:gd name="connsiteX2" fmla="*/ 435 w 284279"/>
                  <a:gd name="connsiteY2" fmla="*/ 20002 h 289560"/>
                  <a:gd name="connsiteX3" fmla="*/ 281422 w 284279"/>
                  <a:gd name="connsiteY3" fmla="*/ 289560 h 289560"/>
                  <a:gd name="connsiteX4" fmla="*/ 284280 w 284279"/>
                  <a:gd name="connsiteY4" fmla="*/ 235267 h 289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60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 187"/>
              <p:cNvSpPr/>
              <p:nvPr/>
            </p:nvSpPr>
            <p:spPr>
              <a:xfrm>
                <a:off x="3443804" y="1560195"/>
                <a:ext cx="284279" cy="289559"/>
              </a:xfrm>
              <a:custGeom>
                <a:avLst/>
                <a:gdLst>
                  <a:gd name="connsiteX0" fmla="*/ 284280 w 284279"/>
                  <a:gd name="connsiteY0" fmla="*/ 235267 h 289559"/>
                  <a:gd name="connsiteX1" fmla="*/ 64252 w 284279"/>
                  <a:gd name="connsiteY1" fmla="*/ 0 h 289559"/>
                  <a:gd name="connsiteX2" fmla="*/ 435 w 284279"/>
                  <a:gd name="connsiteY2" fmla="*/ 20002 h 289559"/>
                  <a:gd name="connsiteX3" fmla="*/ 281422 w 284279"/>
                  <a:gd name="connsiteY3" fmla="*/ 289560 h 289559"/>
                  <a:gd name="connsiteX4" fmla="*/ 284280 w 284279"/>
                  <a:gd name="connsiteY4" fmla="*/ 235267 h 289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59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 188"/>
              <p:cNvSpPr/>
              <p:nvPr/>
            </p:nvSpPr>
            <p:spPr>
              <a:xfrm>
                <a:off x="3724274" y="1116329"/>
                <a:ext cx="317182" cy="255270"/>
              </a:xfrm>
              <a:custGeom>
                <a:avLst/>
                <a:gdLst>
                  <a:gd name="connsiteX0" fmla="*/ 5715 w 317182"/>
                  <a:gd name="connsiteY0" fmla="*/ 200978 h 255270"/>
                  <a:gd name="connsiteX1" fmla="*/ 257175 w 317182"/>
                  <a:gd name="connsiteY1" fmla="*/ 0 h 255270"/>
                  <a:gd name="connsiteX2" fmla="*/ 317183 w 317182"/>
                  <a:gd name="connsiteY2" fmla="*/ 29528 h 255270"/>
                  <a:gd name="connsiteX3" fmla="*/ 0 w 317182"/>
                  <a:gd name="connsiteY3" fmla="*/ 255270 h 255270"/>
                  <a:gd name="connsiteX4" fmla="*/ 5715 w 317182"/>
                  <a:gd name="connsiteY4" fmla="*/ 200978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7182" h="255270">
                    <a:moveTo>
                      <a:pt x="5715" y="200978"/>
                    </a:moveTo>
                    <a:cubicBezTo>
                      <a:pt x="5715" y="200978"/>
                      <a:pt x="255270" y="248603"/>
                      <a:pt x="257175" y="0"/>
                    </a:cubicBezTo>
                    <a:lnTo>
                      <a:pt x="317183" y="29528"/>
                    </a:lnTo>
                    <a:cubicBezTo>
                      <a:pt x="317183" y="29528"/>
                      <a:pt x="308610" y="252413"/>
                      <a:pt x="0" y="255270"/>
                    </a:cubicBezTo>
                    <a:lnTo>
                      <a:pt x="5715" y="2009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 189"/>
              <p:cNvSpPr/>
              <p:nvPr/>
            </p:nvSpPr>
            <p:spPr>
              <a:xfrm>
                <a:off x="3741419" y="1302067"/>
                <a:ext cx="199239" cy="294322"/>
              </a:xfrm>
              <a:custGeom>
                <a:avLst/>
                <a:gdLst>
                  <a:gd name="connsiteX0" fmla="*/ 0 w 199239"/>
                  <a:gd name="connsiteY0" fmla="*/ 239078 h 294322"/>
                  <a:gd name="connsiteX1" fmla="*/ 155257 w 199239"/>
                  <a:gd name="connsiteY1" fmla="*/ 953 h 294322"/>
                  <a:gd name="connsiteX2" fmla="*/ 199072 w 199239"/>
                  <a:gd name="connsiteY2" fmla="*/ 0 h 294322"/>
                  <a:gd name="connsiteX3" fmla="*/ 952 w 199239"/>
                  <a:gd name="connsiteY3" fmla="*/ 294323 h 294322"/>
                  <a:gd name="connsiteX4" fmla="*/ 0 w 199239"/>
                  <a:gd name="connsiteY4" fmla="*/ 239078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8"/>
                    </a:moveTo>
                    <a:cubicBezTo>
                      <a:pt x="0" y="239078"/>
                      <a:pt x="175260" y="245745"/>
                      <a:pt x="155257" y="953"/>
                    </a:cubicBezTo>
                    <a:lnTo>
                      <a:pt x="199072" y="0"/>
                    </a:lnTo>
                    <a:cubicBezTo>
                      <a:pt x="199072" y="0"/>
                      <a:pt x="212408" y="240983"/>
                      <a:pt x="952" y="294323"/>
                    </a:cubicBezTo>
                    <a:lnTo>
                      <a:pt x="0" y="2390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 190"/>
              <p:cNvSpPr/>
              <p:nvPr/>
            </p:nvSpPr>
            <p:spPr>
              <a:xfrm>
                <a:off x="3741419" y="1663065"/>
                <a:ext cx="199239" cy="294322"/>
              </a:xfrm>
              <a:custGeom>
                <a:avLst/>
                <a:gdLst>
                  <a:gd name="connsiteX0" fmla="*/ 0 w 199239"/>
                  <a:gd name="connsiteY0" fmla="*/ 239077 h 294322"/>
                  <a:gd name="connsiteX1" fmla="*/ 155257 w 199239"/>
                  <a:gd name="connsiteY1" fmla="*/ 952 h 294322"/>
                  <a:gd name="connsiteX2" fmla="*/ 199072 w 199239"/>
                  <a:gd name="connsiteY2" fmla="*/ 0 h 294322"/>
                  <a:gd name="connsiteX3" fmla="*/ 952 w 199239"/>
                  <a:gd name="connsiteY3" fmla="*/ 294322 h 294322"/>
                  <a:gd name="connsiteX4" fmla="*/ 0 w 199239"/>
                  <a:gd name="connsiteY4" fmla="*/ 239077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7"/>
                    </a:moveTo>
                    <a:cubicBezTo>
                      <a:pt x="0" y="239077"/>
                      <a:pt x="175260" y="245745"/>
                      <a:pt x="155257" y="952"/>
                    </a:cubicBezTo>
                    <a:lnTo>
                      <a:pt x="199072" y="0"/>
                    </a:lnTo>
                    <a:cubicBezTo>
                      <a:pt x="199072" y="0"/>
                      <a:pt x="212408" y="240982"/>
                      <a:pt x="952" y="294322"/>
                    </a:cubicBezTo>
                    <a:lnTo>
                      <a:pt x="0" y="23907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 191"/>
              <p:cNvSpPr/>
              <p:nvPr/>
            </p:nvSpPr>
            <p:spPr>
              <a:xfrm>
                <a:off x="3216962" y="326204"/>
                <a:ext cx="488947" cy="660283"/>
              </a:xfrm>
              <a:custGeom>
                <a:avLst/>
                <a:gdLst>
                  <a:gd name="connsiteX0" fmla="*/ 230135 w 488947"/>
                  <a:gd name="connsiteY0" fmla="*/ 659633 h 660283"/>
                  <a:gd name="connsiteX1" fmla="*/ 462545 w 488947"/>
                  <a:gd name="connsiteY1" fmla="*/ 491993 h 660283"/>
                  <a:gd name="connsiteX2" fmla="*/ 379677 w 488947"/>
                  <a:gd name="connsiteY2" fmla="*/ 37650 h 660283"/>
                  <a:gd name="connsiteX3" fmla="*/ 20585 w 488947"/>
                  <a:gd name="connsiteY3" fmla="*/ 155760 h 660283"/>
                  <a:gd name="connsiteX4" fmla="*/ 230135 w 488947"/>
                  <a:gd name="connsiteY4" fmla="*/ 659633 h 660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8947" h="660283">
                    <a:moveTo>
                      <a:pt x="230135" y="659633"/>
                    </a:moveTo>
                    <a:cubicBezTo>
                      <a:pt x="334910" y="652013"/>
                      <a:pt x="423492" y="617723"/>
                      <a:pt x="462545" y="491993"/>
                    </a:cubicBezTo>
                    <a:cubicBezTo>
                      <a:pt x="501597" y="366263"/>
                      <a:pt x="513980" y="130043"/>
                      <a:pt x="379677" y="37650"/>
                    </a:cubicBezTo>
                    <a:cubicBezTo>
                      <a:pt x="246327" y="-54742"/>
                      <a:pt x="57732" y="37650"/>
                      <a:pt x="20585" y="155760"/>
                    </a:cubicBezTo>
                    <a:cubicBezTo>
                      <a:pt x="-15610" y="273870"/>
                      <a:pt x="-33708" y="678683"/>
                      <a:pt x="230135" y="659633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 192"/>
              <p:cNvSpPr/>
              <p:nvPr/>
            </p:nvSpPr>
            <p:spPr>
              <a:xfrm>
                <a:off x="3871574" y="708915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 193"/>
              <p:cNvSpPr/>
              <p:nvPr/>
            </p:nvSpPr>
            <p:spPr>
              <a:xfrm>
                <a:off x="3242924" y="1171830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4118451" y="4450079"/>
              <a:ext cx="707707" cy="256222"/>
              <a:chOff x="4083366" y="2517457"/>
              <a:chExt cx="707707" cy="256222"/>
            </a:xfrm>
          </p:grpSpPr>
          <p:sp>
            <p:nvSpPr>
              <p:cNvPr id="52" name="任意多边形 196"/>
              <p:cNvSpPr/>
              <p:nvPr/>
            </p:nvSpPr>
            <p:spPr>
              <a:xfrm>
                <a:off x="4195762" y="2517457"/>
                <a:ext cx="510540" cy="255270"/>
              </a:xfrm>
              <a:custGeom>
                <a:avLst/>
                <a:gdLst>
                  <a:gd name="connsiteX0" fmla="*/ 255270 w 510540"/>
                  <a:gd name="connsiteY0" fmla="*/ 0 h 255270"/>
                  <a:gd name="connsiteX1" fmla="*/ 0 w 510540"/>
                  <a:gd name="connsiteY1" fmla="*/ 255270 h 255270"/>
                  <a:gd name="connsiteX2" fmla="*/ 510540 w 510540"/>
                  <a:gd name="connsiteY2" fmla="*/ 255270 h 255270"/>
                  <a:gd name="connsiteX3" fmla="*/ 255270 w 510540"/>
                  <a:gd name="connsiteY3" fmla="*/ 0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0540" h="255270">
                    <a:moveTo>
                      <a:pt x="255270" y="0"/>
                    </a:moveTo>
                    <a:cubicBezTo>
                      <a:pt x="114300" y="0"/>
                      <a:pt x="0" y="114300"/>
                      <a:pt x="0" y="255270"/>
                    </a:cubicBezTo>
                    <a:lnTo>
                      <a:pt x="510540" y="255270"/>
                    </a:lnTo>
                    <a:cubicBezTo>
                      <a:pt x="510540" y="114300"/>
                      <a:pt x="396240" y="0"/>
                      <a:pt x="255270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 197"/>
              <p:cNvSpPr/>
              <p:nvPr/>
            </p:nvSpPr>
            <p:spPr>
              <a:xfrm>
                <a:off x="4083366" y="2619375"/>
                <a:ext cx="307657" cy="154305"/>
              </a:xfrm>
              <a:custGeom>
                <a:avLst/>
                <a:gdLst>
                  <a:gd name="connsiteX0" fmla="*/ 154305 w 307657"/>
                  <a:gd name="connsiteY0" fmla="*/ 0 h 154305"/>
                  <a:gd name="connsiteX1" fmla="*/ 0 w 307657"/>
                  <a:gd name="connsiteY1" fmla="*/ 154305 h 154305"/>
                  <a:gd name="connsiteX2" fmla="*/ 307658 w 307657"/>
                  <a:gd name="connsiteY2" fmla="*/ 154305 h 154305"/>
                  <a:gd name="connsiteX3" fmla="*/ 154305 w 307657"/>
                  <a:gd name="connsiteY3" fmla="*/ 0 h 154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7657" h="154305">
                    <a:moveTo>
                      <a:pt x="154305" y="0"/>
                    </a:moveTo>
                    <a:cubicBezTo>
                      <a:pt x="69533" y="0"/>
                      <a:pt x="0" y="68580"/>
                      <a:pt x="0" y="154305"/>
                    </a:cubicBezTo>
                    <a:lnTo>
                      <a:pt x="307658" y="154305"/>
                    </a:lnTo>
                    <a:cubicBezTo>
                      <a:pt x="307658" y="68580"/>
                      <a:pt x="239078" y="0"/>
                      <a:pt x="15430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 198"/>
              <p:cNvSpPr/>
              <p:nvPr/>
            </p:nvSpPr>
            <p:spPr>
              <a:xfrm>
                <a:off x="4277677" y="2664142"/>
                <a:ext cx="217169" cy="108584"/>
              </a:xfrm>
              <a:custGeom>
                <a:avLst/>
                <a:gdLst>
                  <a:gd name="connsiteX0" fmla="*/ 108585 w 217169"/>
                  <a:gd name="connsiteY0" fmla="*/ 0 h 108584"/>
                  <a:gd name="connsiteX1" fmla="*/ 0 w 217169"/>
                  <a:gd name="connsiteY1" fmla="*/ 108585 h 108584"/>
                  <a:gd name="connsiteX2" fmla="*/ 217170 w 217169"/>
                  <a:gd name="connsiteY2" fmla="*/ 108585 h 108584"/>
                  <a:gd name="connsiteX3" fmla="*/ 108585 w 217169"/>
                  <a:gd name="connsiteY3" fmla="*/ 0 h 108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7169" h="108584">
                    <a:moveTo>
                      <a:pt x="108585" y="0"/>
                    </a:moveTo>
                    <a:cubicBezTo>
                      <a:pt x="48577" y="0"/>
                      <a:pt x="0" y="48577"/>
                      <a:pt x="0" y="108585"/>
                    </a:cubicBezTo>
                    <a:lnTo>
                      <a:pt x="217170" y="108585"/>
                    </a:lnTo>
                    <a:cubicBezTo>
                      <a:pt x="217170" y="48577"/>
                      <a:pt x="168592" y="0"/>
                      <a:pt x="10858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 199"/>
              <p:cNvSpPr/>
              <p:nvPr/>
            </p:nvSpPr>
            <p:spPr>
              <a:xfrm>
                <a:off x="4589144" y="2671762"/>
                <a:ext cx="201929" cy="100965"/>
              </a:xfrm>
              <a:custGeom>
                <a:avLst/>
                <a:gdLst>
                  <a:gd name="connsiteX0" fmla="*/ 100965 w 201929"/>
                  <a:gd name="connsiteY0" fmla="*/ 0 h 100965"/>
                  <a:gd name="connsiteX1" fmla="*/ 0 w 201929"/>
                  <a:gd name="connsiteY1" fmla="*/ 100965 h 100965"/>
                  <a:gd name="connsiteX2" fmla="*/ 201930 w 201929"/>
                  <a:gd name="connsiteY2" fmla="*/ 100965 h 100965"/>
                  <a:gd name="connsiteX3" fmla="*/ 100965 w 201929"/>
                  <a:gd name="connsiteY3" fmla="*/ 0 h 100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1929" h="100965">
                    <a:moveTo>
                      <a:pt x="100965" y="0"/>
                    </a:moveTo>
                    <a:cubicBezTo>
                      <a:pt x="45720" y="0"/>
                      <a:pt x="0" y="44768"/>
                      <a:pt x="0" y="100965"/>
                    </a:cubicBezTo>
                    <a:lnTo>
                      <a:pt x="201930" y="100965"/>
                    </a:lnTo>
                    <a:cubicBezTo>
                      <a:pt x="201930" y="45720"/>
                      <a:pt x="157163" y="0"/>
                      <a:pt x="100965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7536022" y="4531994"/>
              <a:ext cx="482917" cy="174307"/>
              <a:chOff x="7500937" y="2599372"/>
              <a:chExt cx="482917" cy="174307"/>
            </a:xfrm>
          </p:grpSpPr>
          <p:sp>
            <p:nvSpPr>
              <p:cNvPr id="48" name="任意多边形 201"/>
              <p:cNvSpPr/>
              <p:nvPr/>
            </p:nvSpPr>
            <p:spPr>
              <a:xfrm>
                <a:off x="7578089" y="2599372"/>
                <a:ext cx="347662" cy="174307"/>
              </a:xfrm>
              <a:custGeom>
                <a:avLst/>
                <a:gdLst>
                  <a:gd name="connsiteX0" fmla="*/ 174308 w 347662"/>
                  <a:gd name="connsiteY0" fmla="*/ 0 h 174307"/>
                  <a:gd name="connsiteX1" fmla="*/ 0 w 347662"/>
                  <a:gd name="connsiteY1" fmla="*/ 174308 h 174307"/>
                  <a:gd name="connsiteX2" fmla="*/ 347662 w 347662"/>
                  <a:gd name="connsiteY2" fmla="*/ 174308 h 174307"/>
                  <a:gd name="connsiteX3" fmla="*/ 174308 w 347662"/>
                  <a:gd name="connsiteY3" fmla="*/ 0 h 17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7662" h="174307">
                    <a:moveTo>
                      <a:pt x="174308" y="0"/>
                    </a:moveTo>
                    <a:cubicBezTo>
                      <a:pt x="78105" y="0"/>
                      <a:pt x="0" y="78105"/>
                      <a:pt x="0" y="174308"/>
                    </a:cubicBezTo>
                    <a:lnTo>
                      <a:pt x="347662" y="174308"/>
                    </a:lnTo>
                    <a:cubicBezTo>
                      <a:pt x="347662" y="77153"/>
                      <a:pt x="269558" y="0"/>
                      <a:pt x="174308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 202"/>
              <p:cNvSpPr/>
              <p:nvPr/>
            </p:nvSpPr>
            <p:spPr>
              <a:xfrm>
                <a:off x="7500937" y="2667952"/>
                <a:ext cx="209550" cy="104775"/>
              </a:xfrm>
              <a:custGeom>
                <a:avLst/>
                <a:gdLst>
                  <a:gd name="connsiteX0" fmla="*/ 104775 w 209550"/>
                  <a:gd name="connsiteY0" fmla="*/ 0 h 104775"/>
                  <a:gd name="connsiteX1" fmla="*/ 0 w 209550"/>
                  <a:gd name="connsiteY1" fmla="*/ 104775 h 104775"/>
                  <a:gd name="connsiteX2" fmla="*/ 209550 w 209550"/>
                  <a:gd name="connsiteY2" fmla="*/ 104775 h 104775"/>
                  <a:gd name="connsiteX3" fmla="*/ 104775 w 209550"/>
                  <a:gd name="connsiteY3" fmla="*/ 0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50" h="104775">
                    <a:moveTo>
                      <a:pt x="104775" y="0"/>
                    </a:moveTo>
                    <a:cubicBezTo>
                      <a:pt x="46672" y="0"/>
                      <a:pt x="0" y="46672"/>
                      <a:pt x="0" y="104775"/>
                    </a:cubicBezTo>
                    <a:lnTo>
                      <a:pt x="209550" y="104775"/>
                    </a:lnTo>
                    <a:cubicBezTo>
                      <a:pt x="209550" y="47625"/>
                      <a:pt x="162877" y="0"/>
                      <a:pt x="10477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 203"/>
              <p:cNvSpPr/>
              <p:nvPr/>
            </p:nvSpPr>
            <p:spPr>
              <a:xfrm>
                <a:off x="7633334" y="2699384"/>
                <a:ext cx="147637" cy="74295"/>
              </a:xfrm>
              <a:custGeom>
                <a:avLst/>
                <a:gdLst>
                  <a:gd name="connsiteX0" fmla="*/ 74295 w 147637"/>
                  <a:gd name="connsiteY0" fmla="*/ 0 h 74295"/>
                  <a:gd name="connsiteX1" fmla="*/ 0 w 147637"/>
                  <a:gd name="connsiteY1" fmla="*/ 74295 h 74295"/>
                  <a:gd name="connsiteX2" fmla="*/ 147638 w 147637"/>
                  <a:gd name="connsiteY2" fmla="*/ 74295 h 74295"/>
                  <a:gd name="connsiteX3" fmla="*/ 74295 w 147637"/>
                  <a:gd name="connsiteY3" fmla="*/ 0 h 74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7637" h="74295">
                    <a:moveTo>
                      <a:pt x="74295" y="0"/>
                    </a:moveTo>
                    <a:cubicBezTo>
                      <a:pt x="33338" y="0"/>
                      <a:pt x="0" y="33338"/>
                      <a:pt x="0" y="74295"/>
                    </a:cubicBezTo>
                    <a:lnTo>
                      <a:pt x="147638" y="74295"/>
                    </a:lnTo>
                    <a:cubicBezTo>
                      <a:pt x="147638" y="32385"/>
                      <a:pt x="115252" y="0"/>
                      <a:pt x="7429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 204"/>
              <p:cNvSpPr/>
              <p:nvPr/>
            </p:nvSpPr>
            <p:spPr>
              <a:xfrm>
                <a:off x="7846694" y="2704147"/>
                <a:ext cx="137160" cy="68580"/>
              </a:xfrm>
              <a:custGeom>
                <a:avLst/>
                <a:gdLst>
                  <a:gd name="connsiteX0" fmla="*/ 68580 w 137160"/>
                  <a:gd name="connsiteY0" fmla="*/ 0 h 68580"/>
                  <a:gd name="connsiteX1" fmla="*/ 0 w 137160"/>
                  <a:gd name="connsiteY1" fmla="*/ 68580 h 68580"/>
                  <a:gd name="connsiteX2" fmla="*/ 137160 w 137160"/>
                  <a:gd name="connsiteY2" fmla="*/ 68580 h 68580"/>
                  <a:gd name="connsiteX3" fmla="*/ 68580 w 137160"/>
                  <a:gd name="connsiteY3" fmla="*/ 0 h 68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160" h="68580">
                    <a:moveTo>
                      <a:pt x="68580" y="0"/>
                    </a:moveTo>
                    <a:cubicBezTo>
                      <a:pt x="30480" y="0"/>
                      <a:pt x="0" y="30480"/>
                      <a:pt x="0" y="68580"/>
                    </a:cubicBezTo>
                    <a:lnTo>
                      <a:pt x="137160" y="68580"/>
                    </a:lnTo>
                    <a:cubicBezTo>
                      <a:pt x="137160" y="30480"/>
                      <a:pt x="105728" y="0"/>
                      <a:pt x="6858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4761389" y="3611879"/>
              <a:ext cx="647700" cy="1093470"/>
              <a:chOff x="4726304" y="1679257"/>
              <a:chExt cx="647700" cy="1093470"/>
            </a:xfrm>
          </p:grpSpPr>
          <p:sp>
            <p:nvSpPr>
              <p:cNvPr id="44" name="任意多边形 207"/>
              <p:cNvSpPr/>
              <p:nvPr/>
            </p:nvSpPr>
            <p:spPr>
              <a:xfrm>
                <a:off x="5007291" y="2360295"/>
                <a:ext cx="85725" cy="412432"/>
              </a:xfrm>
              <a:custGeom>
                <a:avLst/>
                <a:gdLst>
                  <a:gd name="connsiteX0" fmla="*/ 0 w 85725"/>
                  <a:gd name="connsiteY0" fmla="*/ 412433 h 412432"/>
                  <a:gd name="connsiteX1" fmla="*/ 85725 w 85725"/>
                  <a:gd name="connsiteY1" fmla="*/ 412433 h 412432"/>
                  <a:gd name="connsiteX2" fmla="*/ 75248 w 85725"/>
                  <a:gd name="connsiteY2" fmla="*/ 0 h 412432"/>
                  <a:gd name="connsiteX3" fmla="*/ 15240 w 85725"/>
                  <a:gd name="connsiteY3" fmla="*/ 0 h 412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5" h="412432">
                    <a:moveTo>
                      <a:pt x="0" y="412433"/>
                    </a:moveTo>
                    <a:lnTo>
                      <a:pt x="85725" y="412433"/>
                    </a:lnTo>
                    <a:lnTo>
                      <a:pt x="75248" y="0"/>
                    </a:lnTo>
                    <a:lnTo>
                      <a:pt x="1524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 208"/>
              <p:cNvSpPr/>
              <p:nvPr/>
            </p:nvSpPr>
            <p:spPr>
              <a:xfrm>
                <a:off x="5028246" y="2368867"/>
                <a:ext cx="172031" cy="227647"/>
              </a:xfrm>
              <a:custGeom>
                <a:avLst/>
                <a:gdLst>
                  <a:gd name="connsiteX0" fmla="*/ 953 w 172031"/>
                  <a:gd name="connsiteY0" fmla="*/ 180023 h 227647"/>
                  <a:gd name="connsiteX1" fmla="*/ 125730 w 172031"/>
                  <a:gd name="connsiteY1" fmla="*/ 0 h 227647"/>
                  <a:gd name="connsiteX2" fmla="*/ 170497 w 172031"/>
                  <a:gd name="connsiteY2" fmla="*/ 7620 h 227647"/>
                  <a:gd name="connsiteX3" fmla="*/ 0 w 172031"/>
                  <a:gd name="connsiteY3" fmla="*/ 227648 h 227647"/>
                  <a:gd name="connsiteX4" fmla="*/ 953 w 172031"/>
                  <a:gd name="connsiteY4" fmla="*/ 180023 h 227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2031" h="227647">
                    <a:moveTo>
                      <a:pt x="953" y="180023"/>
                    </a:moveTo>
                    <a:cubicBezTo>
                      <a:pt x="953" y="180023"/>
                      <a:pt x="172403" y="161925"/>
                      <a:pt x="125730" y="0"/>
                    </a:cubicBezTo>
                    <a:lnTo>
                      <a:pt x="170497" y="7620"/>
                    </a:lnTo>
                    <a:cubicBezTo>
                      <a:pt x="170497" y="7620"/>
                      <a:pt x="200025" y="164783"/>
                      <a:pt x="0" y="227648"/>
                    </a:cubicBezTo>
                    <a:lnTo>
                      <a:pt x="953" y="180023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 209"/>
              <p:cNvSpPr/>
              <p:nvPr/>
            </p:nvSpPr>
            <p:spPr>
              <a:xfrm>
                <a:off x="4907258" y="2329815"/>
                <a:ext cx="142896" cy="184784"/>
              </a:xfrm>
              <a:custGeom>
                <a:avLst/>
                <a:gdLst>
                  <a:gd name="connsiteX0" fmla="*/ 36216 w 142896"/>
                  <a:gd name="connsiteY0" fmla="*/ 12382 h 184784"/>
                  <a:gd name="connsiteX1" fmla="*/ 142896 w 142896"/>
                  <a:gd name="connsiteY1" fmla="*/ 152400 h 184784"/>
                  <a:gd name="connsiteX2" fmla="*/ 125751 w 142896"/>
                  <a:gd name="connsiteY2" fmla="*/ 184785 h 184784"/>
                  <a:gd name="connsiteX3" fmla="*/ 21 w 142896"/>
                  <a:gd name="connsiteY3" fmla="*/ 0 h 184784"/>
                  <a:gd name="connsiteX4" fmla="*/ 36216 w 142896"/>
                  <a:gd name="connsiteY4" fmla="*/ 12382 h 184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896" h="184784">
                    <a:moveTo>
                      <a:pt x="36216" y="12382"/>
                    </a:moveTo>
                    <a:cubicBezTo>
                      <a:pt x="36216" y="12382"/>
                      <a:pt x="7641" y="148590"/>
                      <a:pt x="142896" y="152400"/>
                    </a:cubicBezTo>
                    <a:lnTo>
                      <a:pt x="125751" y="184785"/>
                    </a:lnTo>
                    <a:cubicBezTo>
                      <a:pt x="125751" y="184785"/>
                      <a:pt x="-1884" y="168592"/>
                      <a:pt x="21" y="0"/>
                    </a:cubicBezTo>
                    <a:lnTo>
                      <a:pt x="36216" y="12382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 210"/>
              <p:cNvSpPr/>
              <p:nvPr/>
            </p:nvSpPr>
            <p:spPr>
              <a:xfrm>
                <a:off x="4726304" y="1679257"/>
                <a:ext cx="647700" cy="770572"/>
              </a:xfrm>
              <a:custGeom>
                <a:avLst/>
                <a:gdLst>
                  <a:gd name="connsiteX0" fmla="*/ 647700 w 647700"/>
                  <a:gd name="connsiteY0" fmla="*/ 425767 h 770572"/>
                  <a:gd name="connsiteX1" fmla="*/ 323850 w 647700"/>
                  <a:gd name="connsiteY1" fmla="*/ 770572 h 770572"/>
                  <a:gd name="connsiteX2" fmla="*/ 0 w 647700"/>
                  <a:gd name="connsiteY2" fmla="*/ 425767 h 770572"/>
                  <a:gd name="connsiteX3" fmla="*/ 323850 w 647700"/>
                  <a:gd name="connsiteY3" fmla="*/ 0 h 770572"/>
                  <a:gd name="connsiteX4" fmla="*/ 647700 w 647700"/>
                  <a:gd name="connsiteY4" fmla="*/ 425767 h 770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7700" h="770572">
                    <a:moveTo>
                      <a:pt x="647700" y="425767"/>
                    </a:moveTo>
                    <a:cubicBezTo>
                      <a:pt x="647700" y="661035"/>
                      <a:pt x="502920" y="770572"/>
                      <a:pt x="323850" y="770572"/>
                    </a:cubicBezTo>
                    <a:cubicBezTo>
                      <a:pt x="144780" y="770572"/>
                      <a:pt x="0" y="661988"/>
                      <a:pt x="0" y="425767"/>
                    </a:cubicBezTo>
                    <a:cubicBezTo>
                      <a:pt x="0" y="190500"/>
                      <a:pt x="144780" y="0"/>
                      <a:pt x="323850" y="0"/>
                    </a:cubicBezTo>
                    <a:cubicBezTo>
                      <a:pt x="502920" y="0"/>
                      <a:pt x="647700" y="190500"/>
                      <a:pt x="647700" y="425767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" name="组合 11"/>
            <p:cNvGrpSpPr/>
            <p:nvPr/>
          </p:nvGrpSpPr>
          <p:grpSpPr>
            <a:xfrm>
              <a:off x="6647339" y="4319587"/>
              <a:ext cx="757237" cy="386715"/>
              <a:chOff x="6612254" y="2386965"/>
              <a:chExt cx="757237" cy="386715"/>
            </a:xfrm>
          </p:grpSpPr>
          <p:sp>
            <p:nvSpPr>
              <p:cNvPr id="40" name="任意多边形 213"/>
              <p:cNvSpPr/>
              <p:nvPr/>
            </p:nvSpPr>
            <p:spPr>
              <a:xfrm>
                <a:off x="6612254" y="2611754"/>
                <a:ext cx="181927" cy="160972"/>
              </a:xfrm>
              <a:custGeom>
                <a:avLst/>
                <a:gdLst>
                  <a:gd name="connsiteX0" fmla="*/ 181927 w 181927"/>
                  <a:gd name="connsiteY0" fmla="*/ 18098 h 160972"/>
                  <a:gd name="connsiteX1" fmla="*/ 178117 w 181927"/>
                  <a:gd name="connsiteY1" fmla="*/ 4763 h 160972"/>
                  <a:gd name="connsiteX2" fmla="*/ 147638 w 181927"/>
                  <a:gd name="connsiteY2" fmla="*/ 0 h 160972"/>
                  <a:gd name="connsiteX3" fmla="*/ 0 w 181927"/>
                  <a:gd name="connsiteY3" fmla="*/ 160973 h 160972"/>
                  <a:gd name="connsiteX4" fmla="*/ 87630 w 181927"/>
                  <a:gd name="connsiteY4" fmla="*/ 160973 h 160972"/>
                  <a:gd name="connsiteX5" fmla="*/ 181927 w 181927"/>
                  <a:gd name="connsiteY5" fmla="*/ 18098 h 160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1927" h="160972">
                    <a:moveTo>
                      <a:pt x="181927" y="18098"/>
                    </a:moveTo>
                    <a:cubicBezTo>
                      <a:pt x="180975" y="14288"/>
                      <a:pt x="179070" y="9525"/>
                      <a:pt x="178117" y="4763"/>
                    </a:cubicBezTo>
                    <a:cubicBezTo>
                      <a:pt x="168592" y="1905"/>
                      <a:pt x="158115" y="0"/>
                      <a:pt x="147638" y="0"/>
                    </a:cubicBezTo>
                    <a:cubicBezTo>
                      <a:pt x="79057" y="0"/>
                      <a:pt x="20002" y="67627"/>
                      <a:pt x="0" y="160973"/>
                    </a:cubicBezTo>
                    <a:lnTo>
                      <a:pt x="87630" y="160973"/>
                    </a:lnTo>
                    <a:cubicBezTo>
                      <a:pt x="112395" y="103823"/>
                      <a:pt x="144780" y="55245"/>
                      <a:pt x="181927" y="180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 214"/>
              <p:cNvSpPr/>
              <p:nvPr/>
            </p:nvSpPr>
            <p:spPr>
              <a:xfrm>
                <a:off x="6781799" y="2386965"/>
                <a:ext cx="313372" cy="340994"/>
              </a:xfrm>
              <a:custGeom>
                <a:avLst/>
                <a:gdLst>
                  <a:gd name="connsiteX0" fmla="*/ 170497 w 313372"/>
                  <a:gd name="connsiteY0" fmla="*/ 262890 h 340994"/>
                  <a:gd name="connsiteX1" fmla="*/ 313372 w 313372"/>
                  <a:gd name="connsiteY1" fmla="*/ 131445 h 340994"/>
                  <a:gd name="connsiteX2" fmla="*/ 166688 w 313372"/>
                  <a:gd name="connsiteY2" fmla="*/ 0 h 340994"/>
                  <a:gd name="connsiteX3" fmla="*/ 0 w 313372"/>
                  <a:gd name="connsiteY3" fmla="*/ 250507 h 340994"/>
                  <a:gd name="connsiteX4" fmla="*/ 9525 w 313372"/>
                  <a:gd name="connsiteY4" fmla="*/ 327660 h 340994"/>
                  <a:gd name="connsiteX5" fmla="*/ 13335 w 313372"/>
                  <a:gd name="connsiteY5" fmla="*/ 340995 h 340994"/>
                  <a:gd name="connsiteX6" fmla="*/ 170497 w 313372"/>
                  <a:gd name="connsiteY6" fmla="*/ 262890 h 340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3372" h="340994">
                    <a:moveTo>
                      <a:pt x="170497" y="262890"/>
                    </a:moveTo>
                    <a:cubicBezTo>
                      <a:pt x="204788" y="195263"/>
                      <a:pt x="255270" y="147638"/>
                      <a:pt x="313372" y="131445"/>
                    </a:cubicBezTo>
                    <a:cubicBezTo>
                      <a:pt x="284797" y="53340"/>
                      <a:pt x="230505" y="0"/>
                      <a:pt x="166688" y="0"/>
                    </a:cubicBezTo>
                    <a:cubicBezTo>
                      <a:pt x="74295" y="0"/>
                      <a:pt x="0" y="112395"/>
                      <a:pt x="0" y="250507"/>
                    </a:cubicBezTo>
                    <a:cubicBezTo>
                      <a:pt x="0" y="279082"/>
                      <a:pt x="2857" y="304800"/>
                      <a:pt x="9525" y="327660"/>
                    </a:cubicBezTo>
                    <a:cubicBezTo>
                      <a:pt x="10478" y="332422"/>
                      <a:pt x="12382" y="336232"/>
                      <a:pt x="13335" y="340995"/>
                    </a:cubicBezTo>
                    <a:cubicBezTo>
                      <a:pt x="58103" y="295275"/>
                      <a:pt x="112395" y="267652"/>
                      <a:pt x="170497" y="262890"/>
                    </a:cubicBezTo>
                    <a:close/>
                  </a:path>
                </a:pathLst>
              </a:custGeom>
              <a:solidFill>
                <a:srgbClr val="3BA24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 215"/>
              <p:cNvSpPr/>
              <p:nvPr/>
            </p:nvSpPr>
            <p:spPr>
              <a:xfrm>
                <a:off x="6952296" y="2413634"/>
                <a:ext cx="417195" cy="359092"/>
              </a:xfrm>
              <a:custGeom>
                <a:avLst/>
                <a:gdLst>
                  <a:gd name="connsiteX0" fmla="*/ 0 w 417195"/>
                  <a:gd name="connsiteY0" fmla="*/ 138113 h 359092"/>
                  <a:gd name="connsiteX1" fmla="*/ 18097 w 417195"/>
                  <a:gd name="connsiteY1" fmla="*/ 137160 h 359092"/>
                  <a:gd name="connsiteX2" fmla="*/ 287655 w 417195"/>
                  <a:gd name="connsiteY2" fmla="*/ 359093 h 359092"/>
                  <a:gd name="connsiteX3" fmla="*/ 417195 w 417195"/>
                  <a:gd name="connsiteY3" fmla="*/ 359093 h 359092"/>
                  <a:gd name="connsiteX4" fmla="*/ 417195 w 417195"/>
                  <a:gd name="connsiteY4" fmla="*/ 350520 h 359092"/>
                  <a:gd name="connsiteX5" fmla="*/ 184785 w 417195"/>
                  <a:gd name="connsiteY5" fmla="*/ 0 h 359092"/>
                  <a:gd name="connsiteX6" fmla="*/ 142875 w 417195"/>
                  <a:gd name="connsiteY6" fmla="*/ 5715 h 359092"/>
                  <a:gd name="connsiteX7" fmla="*/ 0 w 417195"/>
                  <a:gd name="connsiteY7" fmla="*/ 138113 h 359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195" h="359092">
                    <a:moveTo>
                      <a:pt x="0" y="138113"/>
                    </a:moveTo>
                    <a:cubicBezTo>
                      <a:pt x="5715" y="137160"/>
                      <a:pt x="11430" y="137160"/>
                      <a:pt x="18097" y="137160"/>
                    </a:cubicBezTo>
                    <a:cubicBezTo>
                      <a:pt x="131445" y="137160"/>
                      <a:pt x="230505" y="225743"/>
                      <a:pt x="287655" y="359093"/>
                    </a:cubicBezTo>
                    <a:lnTo>
                      <a:pt x="417195" y="359093"/>
                    </a:lnTo>
                    <a:cubicBezTo>
                      <a:pt x="417195" y="356235"/>
                      <a:pt x="417195" y="353378"/>
                      <a:pt x="417195" y="350520"/>
                    </a:cubicBezTo>
                    <a:cubicBezTo>
                      <a:pt x="417195" y="157163"/>
                      <a:pt x="313372" y="0"/>
                      <a:pt x="184785" y="0"/>
                    </a:cubicBezTo>
                    <a:cubicBezTo>
                      <a:pt x="170497" y="0"/>
                      <a:pt x="156210" y="1905"/>
                      <a:pt x="142875" y="5715"/>
                    </a:cubicBezTo>
                    <a:cubicBezTo>
                      <a:pt x="84772" y="22860"/>
                      <a:pt x="34290" y="70485"/>
                      <a:pt x="0" y="138113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 216"/>
              <p:cNvSpPr/>
              <p:nvPr/>
            </p:nvSpPr>
            <p:spPr>
              <a:xfrm>
                <a:off x="6699884" y="2550795"/>
                <a:ext cx="540067" cy="222885"/>
              </a:xfrm>
              <a:custGeom>
                <a:avLst/>
                <a:gdLst>
                  <a:gd name="connsiteX0" fmla="*/ 270510 w 540067"/>
                  <a:gd name="connsiteY0" fmla="*/ 0 h 222885"/>
                  <a:gd name="connsiteX1" fmla="*/ 252413 w 540067"/>
                  <a:gd name="connsiteY1" fmla="*/ 952 h 222885"/>
                  <a:gd name="connsiteX2" fmla="*/ 94297 w 540067"/>
                  <a:gd name="connsiteY2" fmla="*/ 79058 h 222885"/>
                  <a:gd name="connsiteX3" fmla="*/ 0 w 540067"/>
                  <a:gd name="connsiteY3" fmla="*/ 222885 h 222885"/>
                  <a:gd name="connsiteX4" fmla="*/ 540068 w 540067"/>
                  <a:gd name="connsiteY4" fmla="*/ 222885 h 222885"/>
                  <a:gd name="connsiteX5" fmla="*/ 270510 w 540067"/>
                  <a:gd name="connsiteY5" fmla="*/ 0 h 222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0067" h="222885">
                    <a:moveTo>
                      <a:pt x="270510" y="0"/>
                    </a:moveTo>
                    <a:cubicBezTo>
                      <a:pt x="264795" y="0"/>
                      <a:pt x="258128" y="0"/>
                      <a:pt x="252413" y="952"/>
                    </a:cubicBezTo>
                    <a:cubicBezTo>
                      <a:pt x="194310" y="5715"/>
                      <a:pt x="140970" y="34290"/>
                      <a:pt x="94297" y="79058"/>
                    </a:cubicBezTo>
                    <a:cubicBezTo>
                      <a:pt x="56197" y="116205"/>
                      <a:pt x="24765" y="164783"/>
                      <a:pt x="0" y="222885"/>
                    </a:cubicBezTo>
                    <a:lnTo>
                      <a:pt x="540068" y="222885"/>
                    </a:lnTo>
                    <a:cubicBezTo>
                      <a:pt x="482918" y="88583"/>
                      <a:pt x="383858" y="0"/>
                      <a:pt x="27051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8914289" y="4138612"/>
              <a:ext cx="578168" cy="567690"/>
              <a:chOff x="8879204" y="2205990"/>
              <a:chExt cx="578168" cy="567690"/>
            </a:xfrm>
          </p:grpSpPr>
          <p:grpSp>
            <p:nvGrpSpPr>
              <p:cNvPr id="28" name="组合 27"/>
              <p:cNvGrpSpPr/>
              <p:nvPr/>
            </p:nvGrpSpPr>
            <p:grpSpPr>
              <a:xfrm>
                <a:off x="8879204" y="2205990"/>
                <a:ext cx="342900" cy="567690"/>
                <a:chOff x="8879204" y="2205990"/>
                <a:chExt cx="342900" cy="567690"/>
              </a:xfrm>
            </p:grpSpPr>
            <p:sp>
              <p:nvSpPr>
                <p:cNvPr id="34" name="任意多边形 220"/>
                <p:cNvSpPr/>
                <p:nvPr/>
              </p:nvSpPr>
              <p:spPr>
                <a:xfrm>
                  <a:off x="9023984" y="2238375"/>
                  <a:ext cx="60007" cy="535305"/>
                </a:xfrm>
                <a:custGeom>
                  <a:avLst/>
                  <a:gdLst>
                    <a:gd name="connsiteX0" fmla="*/ 60007 w 60007"/>
                    <a:gd name="connsiteY0" fmla="*/ 535305 h 535305"/>
                    <a:gd name="connsiteX1" fmla="*/ 0 w 60007"/>
                    <a:gd name="connsiteY1" fmla="*/ 535305 h 535305"/>
                    <a:gd name="connsiteX2" fmla="*/ 20955 w 60007"/>
                    <a:gd name="connsiteY2" fmla="*/ 0 h 535305"/>
                    <a:gd name="connsiteX3" fmla="*/ 39052 w 60007"/>
                    <a:gd name="connsiteY3" fmla="*/ 0 h 535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007" h="535305">
                      <a:moveTo>
                        <a:pt x="60007" y="535305"/>
                      </a:moveTo>
                      <a:lnTo>
                        <a:pt x="0" y="535305"/>
                      </a:lnTo>
                      <a:lnTo>
                        <a:pt x="20955" y="0"/>
                      </a:lnTo>
                      <a:lnTo>
                        <a:pt x="39052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35" name="组合 34"/>
                <p:cNvGrpSpPr/>
                <p:nvPr/>
              </p:nvGrpSpPr>
              <p:grpSpPr>
                <a:xfrm>
                  <a:off x="8879204" y="2205990"/>
                  <a:ext cx="342900" cy="567690"/>
                  <a:chOff x="8879204" y="2205990"/>
                  <a:chExt cx="342900" cy="567690"/>
                </a:xfrm>
              </p:grpSpPr>
              <p:sp>
                <p:nvSpPr>
                  <p:cNvPr id="36" name="任意多边形 222"/>
                  <p:cNvSpPr/>
                  <p:nvPr/>
                </p:nvSpPr>
                <p:spPr>
                  <a:xfrm>
                    <a:off x="8879204" y="2546984"/>
                    <a:ext cx="342900" cy="226695"/>
                  </a:xfrm>
                  <a:custGeom>
                    <a:avLst/>
                    <a:gdLst>
                      <a:gd name="connsiteX0" fmla="*/ 170497 w 342900"/>
                      <a:gd name="connsiteY0" fmla="*/ 0 h 226695"/>
                      <a:gd name="connsiteX1" fmla="*/ 0 w 342900"/>
                      <a:gd name="connsiteY1" fmla="*/ 226695 h 226695"/>
                      <a:gd name="connsiteX2" fmla="*/ 171450 w 342900"/>
                      <a:gd name="connsiteY2" fmla="*/ 226695 h 226695"/>
                      <a:gd name="connsiteX3" fmla="*/ 342900 w 342900"/>
                      <a:gd name="connsiteY3" fmla="*/ 226695 h 2266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42900" h="226695">
                        <a:moveTo>
                          <a:pt x="170497" y="0"/>
                        </a:moveTo>
                        <a:lnTo>
                          <a:pt x="0" y="226695"/>
                        </a:lnTo>
                        <a:lnTo>
                          <a:pt x="171450" y="226695"/>
                        </a:lnTo>
                        <a:lnTo>
                          <a:pt x="342900" y="226695"/>
                        </a:lnTo>
                        <a:close/>
                      </a:path>
                    </a:pathLst>
                  </a:custGeom>
                  <a:solidFill>
                    <a:srgbClr val="006738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7" name="任意多边形 223"/>
                  <p:cNvSpPr/>
                  <p:nvPr/>
                </p:nvSpPr>
                <p:spPr>
                  <a:xfrm>
                    <a:off x="8893492" y="2415540"/>
                    <a:ext cx="313372" cy="191452"/>
                  </a:xfrm>
                  <a:custGeom>
                    <a:avLst/>
                    <a:gdLst>
                      <a:gd name="connsiteX0" fmla="*/ 155257 w 313372"/>
                      <a:gd name="connsiteY0" fmla="*/ 0 h 191452"/>
                      <a:gd name="connsiteX1" fmla="*/ 0 w 313372"/>
                      <a:gd name="connsiteY1" fmla="*/ 191452 h 191452"/>
                      <a:gd name="connsiteX2" fmla="*/ 156210 w 313372"/>
                      <a:gd name="connsiteY2" fmla="*/ 191452 h 191452"/>
                      <a:gd name="connsiteX3" fmla="*/ 313372 w 313372"/>
                      <a:gd name="connsiteY3" fmla="*/ 191452 h 1914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13372" h="191452">
                        <a:moveTo>
                          <a:pt x="155257" y="0"/>
                        </a:moveTo>
                        <a:lnTo>
                          <a:pt x="0" y="191452"/>
                        </a:lnTo>
                        <a:lnTo>
                          <a:pt x="156210" y="191452"/>
                        </a:lnTo>
                        <a:lnTo>
                          <a:pt x="313372" y="191452"/>
                        </a:lnTo>
                        <a:close/>
                      </a:path>
                    </a:pathLst>
                  </a:custGeom>
                  <a:solidFill>
                    <a:srgbClr val="029344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8" name="任意多边形 224"/>
                  <p:cNvSpPr/>
                  <p:nvPr/>
                </p:nvSpPr>
                <p:spPr>
                  <a:xfrm>
                    <a:off x="8904922" y="2303145"/>
                    <a:ext cx="288607" cy="163829"/>
                  </a:xfrm>
                  <a:custGeom>
                    <a:avLst/>
                    <a:gdLst>
                      <a:gd name="connsiteX0" fmla="*/ 143827 w 288607"/>
                      <a:gd name="connsiteY0" fmla="*/ 0 h 163829"/>
                      <a:gd name="connsiteX1" fmla="*/ 0 w 288607"/>
                      <a:gd name="connsiteY1" fmla="*/ 163830 h 163829"/>
                      <a:gd name="connsiteX2" fmla="*/ 144780 w 288607"/>
                      <a:gd name="connsiteY2" fmla="*/ 163830 h 163829"/>
                      <a:gd name="connsiteX3" fmla="*/ 288607 w 288607"/>
                      <a:gd name="connsiteY3" fmla="*/ 163830 h 1638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88607" h="163829">
                        <a:moveTo>
                          <a:pt x="143827" y="0"/>
                        </a:moveTo>
                        <a:lnTo>
                          <a:pt x="0" y="163830"/>
                        </a:lnTo>
                        <a:lnTo>
                          <a:pt x="144780" y="163830"/>
                        </a:lnTo>
                        <a:lnTo>
                          <a:pt x="288607" y="163830"/>
                        </a:lnTo>
                        <a:close/>
                      </a:path>
                    </a:pathLst>
                  </a:custGeom>
                  <a:solidFill>
                    <a:srgbClr val="6EB13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9" name="任意多边形 225"/>
                  <p:cNvSpPr/>
                  <p:nvPr/>
                </p:nvSpPr>
                <p:spPr>
                  <a:xfrm>
                    <a:off x="8915399" y="2205990"/>
                    <a:ext cx="266700" cy="140969"/>
                  </a:xfrm>
                  <a:custGeom>
                    <a:avLst/>
                    <a:gdLst>
                      <a:gd name="connsiteX0" fmla="*/ 132398 w 266700"/>
                      <a:gd name="connsiteY0" fmla="*/ 0 h 140969"/>
                      <a:gd name="connsiteX1" fmla="*/ 0 w 266700"/>
                      <a:gd name="connsiteY1" fmla="*/ 140970 h 140969"/>
                      <a:gd name="connsiteX2" fmla="*/ 133350 w 266700"/>
                      <a:gd name="connsiteY2" fmla="*/ 140970 h 140969"/>
                      <a:gd name="connsiteX3" fmla="*/ 266700 w 266700"/>
                      <a:gd name="connsiteY3" fmla="*/ 140970 h 1409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66700" h="140969">
                        <a:moveTo>
                          <a:pt x="132398" y="0"/>
                        </a:moveTo>
                        <a:lnTo>
                          <a:pt x="0" y="140970"/>
                        </a:lnTo>
                        <a:lnTo>
                          <a:pt x="133350" y="140970"/>
                        </a:lnTo>
                        <a:lnTo>
                          <a:pt x="266700" y="140970"/>
                        </a:lnTo>
                        <a:close/>
                      </a:path>
                    </a:pathLst>
                  </a:custGeom>
                  <a:solidFill>
                    <a:srgbClr val="92C33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29" name="组合 28"/>
              <p:cNvGrpSpPr/>
              <p:nvPr/>
            </p:nvGrpSpPr>
            <p:grpSpPr>
              <a:xfrm>
                <a:off x="9019222" y="2615565"/>
                <a:ext cx="438150" cy="158115"/>
                <a:chOff x="9019222" y="2615565"/>
                <a:chExt cx="438150" cy="158115"/>
              </a:xfrm>
            </p:grpSpPr>
            <p:sp>
              <p:nvSpPr>
                <p:cNvPr id="30" name="任意多边形 228"/>
                <p:cNvSpPr/>
                <p:nvPr/>
              </p:nvSpPr>
              <p:spPr>
                <a:xfrm>
                  <a:off x="9088754" y="2615565"/>
                  <a:ext cx="317182" cy="158115"/>
                </a:xfrm>
                <a:custGeom>
                  <a:avLst/>
                  <a:gdLst>
                    <a:gd name="connsiteX0" fmla="*/ 158115 w 317182"/>
                    <a:gd name="connsiteY0" fmla="*/ 0 h 158115"/>
                    <a:gd name="connsiteX1" fmla="*/ 0 w 317182"/>
                    <a:gd name="connsiteY1" fmla="*/ 158115 h 158115"/>
                    <a:gd name="connsiteX2" fmla="*/ 317182 w 317182"/>
                    <a:gd name="connsiteY2" fmla="*/ 158115 h 158115"/>
                    <a:gd name="connsiteX3" fmla="*/ 158115 w 317182"/>
                    <a:gd name="connsiteY3" fmla="*/ 0 h 1581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7182" h="158115">
                      <a:moveTo>
                        <a:pt x="158115" y="0"/>
                      </a:moveTo>
                      <a:cubicBezTo>
                        <a:pt x="70485" y="0"/>
                        <a:pt x="0" y="70485"/>
                        <a:pt x="0" y="158115"/>
                      </a:cubicBezTo>
                      <a:lnTo>
                        <a:pt x="317182" y="158115"/>
                      </a:lnTo>
                      <a:cubicBezTo>
                        <a:pt x="317182" y="70485"/>
                        <a:pt x="245745" y="0"/>
                        <a:pt x="158115" y="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1" name="任意多边形 229"/>
                <p:cNvSpPr/>
                <p:nvPr/>
              </p:nvSpPr>
              <p:spPr>
                <a:xfrm>
                  <a:off x="9019222" y="2677477"/>
                  <a:ext cx="190500" cy="95250"/>
                </a:xfrm>
                <a:custGeom>
                  <a:avLst/>
                  <a:gdLst>
                    <a:gd name="connsiteX0" fmla="*/ 95250 w 190500"/>
                    <a:gd name="connsiteY0" fmla="*/ 0 h 95250"/>
                    <a:gd name="connsiteX1" fmla="*/ 0 w 190500"/>
                    <a:gd name="connsiteY1" fmla="*/ 95250 h 95250"/>
                    <a:gd name="connsiteX2" fmla="*/ 190500 w 190500"/>
                    <a:gd name="connsiteY2" fmla="*/ 95250 h 95250"/>
                    <a:gd name="connsiteX3" fmla="*/ 95250 w 190500"/>
                    <a:gd name="connsiteY3" fmla="*/ 0 h 95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0500" h="95250">
                      <a:moveTo>
                        <a:pt x="95250" y="0"/>
                      </a:moveTo>
                      <a:cubicBezTo>
                        <a:pt x="42863" y="0"/>
                        <a:pt x="0" y="42863"/>
                        <a:pt x="0" y="95250"/>
                      </a:cubicBezTo>
                      <a:lnTo>
                        <a:pt x="190500" y="95250"/>
                      </a:lnTo>
                      <a:cubicBezTo>
                        <a:pt x="190500" y="42863"/>
                        <a:pt x="148590" y="0"/>
                        <a:pt x="95250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2" name="任意多边形 230"/>
                <p:cNvSpPr/>
                <p:nvPr/>
              </p:nvSpPr>
              <p:spPr>
                <a:xfrm>
                  <a:off x="9139237" y="2706052"/>
                  <a:ext cx="134324" cy="67627"/>
                </a:xfrm>
                <a:custGeom>
                  <a:avLst/>
                  <a:gdLst>
                    <a:gd name="connsiteX0" fmla="*/ 67627 w 134324"/>
                    <a:gd name="connsiteY0" fmla="*/ 0 h 67627"/>
                    <a:gd name="connsiteX1" fmla="*/ 0 w 134324"/>
                    <a:gd name="connsiteY1" fmla="*/ 67628 h 67627"/>
                    <a:gd name="connsiteX2" fmla="*/ 134302 w 134324"/>
                    <a:gd name="connsiteY2" fmla="*/ 67628 h 67627"/>
                    <a:gd name="connsiteX3" fmla="*/ 67627 w 134324"/>
                    <a:gd name="connsiteY3" fmla="*/ 0 h 67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4324" h="67627">
                      <a:moveTo>
                        <a:pt x="67627" y="0"/>
                      </a:moveTo>
                      <a:cubicBezTo>
                        <a:pt x="30480" y="0"/>
                        <a:pt x="0" y="30480"/>
                        <a:pt x="0" y="67628"/>
                      </a:cubicBezTo>
                      <a:lnTo>
                        <a:pt x="134302" y="67628"/>
                      </a:lnTo>
                      <a:cubicBezTo>
                        <a:pt x="135255" y="30480"/>
                        <a:pt x="104775" y="0"/>
                        <a:pt x="67627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3" name="任意多边形 231"/>
                <p:cNvSpPr/>
                <p:nvPr/>
              </p:nvSpPr>
              <p:spPr>
                <a:xfrm>
                  <a:off x="9332594" y="2710815"/>
                  <a:ext cx="124777" cy="62865"/>
                </a:xfrm>
                <a:custGeom>
                  <a:avLst/>
                  <a:gdLst>
                    <a:gd name="connsiteX0" fmla="*/ 62865 w 124777"/>
                    <a:gd name="connsiteY0" fmla="*/ 0 h 62865"/>
                    <a:gd name="connsiteX1" fmla="*/ 0 w 124777"/>
                    <a:gd name="connsiteY1" fmla="*/ 62865 h 62865"/>
                    <a:gd name="connsiteX2" fmla="*/ 124778 w 124777"/>
                    <a:gd name="connsiteY2" fmla="*/ 62865 h 62865"/>
                    <a:gd name="connsiteX3" fmla="*/ 62865 w 124777"/>
                    <a:gd name="connsiteY3" fmla="*/ 0 h 62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4777" h="62865">
                      <a:moveTo>
                        <a:pt x="62865" y="0"/>
                      </a:moveTo>
                      <a:cubicBezTo>
                        <a:pt x="28575" y="0"/>
                        <a:pt x="0" y="27622"/>
                        <a:pt x="0" y="62865"/>
                      </a:cubicBezTo>
                      <a:lnTo>
                        <a:pt x="124778" y="62865"/>
                      </a:lnTo>
                      <a:cubicBezTo>
                        <a:pt x="124778" y="27622"/>
                        <a:pt x="97155" y="0"/>
                        <a:pt x="62865" y="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4" name="组合 13"/>
            <p:cNvGrpSpPr/>
            <p:nvPr/>
          </p:nvGrpSpPr>
          <p:grpSpPr>
            <a:xfrm>
              <a:off x="2772569" y="4065269"/>
              <a:ext cx="704850" cy="641032"/>
              <a:chOff x="2737484" y="2132647"/>
              <a:chExt cx="704850" cy="641032"/>
            </a:xfrm>
          </p:grpSpPr>
          <p:sp>
            <p:nvSpPr>
              <p:cNvPr id="15" name="任意多边形 233"/>
              <p:cNvSpPr/>
              <p:nvPr/>
            </p:nvSpPr>
            <p:spPr>
              <a:xfrm>
                <a:off x="2987992" y="2646045"/>
                <a:ext cx="340058" cy="127635"/>
              </a:xfrm>
              <a:custGeom>
                <a:avLst/>
                <a:gdLst>
                  <a:gd name="connsiteX0" fmla="*/ 250508 w 340058"/>
                  <a:gd name="connsiteY0" fmla="*/ 37148 h 127635"/>
                  <a:gd name="connsiteX1" fmla="*/ 221933 w 340058"/>
                  <a:gd name="connsiteY1" fmla="*/ 41910 h 127635"/>
                  <a:gd name="connsiteX2" fmla="*/ 127635 w 340058"/>
                  <a:gd name="connsiteY2" fmla="*/ 0 h 127635"/>
                  <a:gd name="connsiteX3" fmla="*/ 0 w 340058"/>
                  <a:gd name="connsiteY3" fmla="*/ 127635 h 127635"/>
                  <a:gd name="connsiteX4" fmla="*/ 160020 w 340058"/>
                  <a:gd name="connsiteY4" fmla="*/ 127635 h 127635"/>
                  <a:gd name="connsiteX5" fmla="*/ 254318 w 340058"/>
                  <a:gd name="connsiteY5" fmla="*/ 127635 h 127635"/>
                  <a:gd name="connsiteX6" fmla="*/ 340043 w 340058"/>
                  <a:gd name="connsiteY6" fmla="*/ 127635 h 127635"/>
                  <a:gd name="connsiteX7" fmla="*/ 250508 w 340058"/>
                  <a:gd name="connsiteY7" fmla="*/ 37148 h 127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0058" h="127635">
                    <a:moveTo>
                      <a:pt x="250508" y="37148"/>
                    </a:moveTo>
                    <a:cubicBezTo>
                      <a:pt x="240030" y="37148"/>
                      <a:pt x="230505" y="39052"/>
                      <a:pt x="221933" y="41910"/>
                    </a:cubicBezTo>
                    <a:cubicBezTo>
                      <a:pt x="198120" y="16192"/>
                      <a:pt x="164783" y="0"/>
                      <a:pt x="127635" y="0"/>
                    </a:cubicBezTo>
                    <a:cubicBezTo>
                      <a:pt x="57150" y="0"/>
                      <a:pt x="0" y="57150"/>
                      <a:pt x="0" y="127635"/>
                    </a:cubicBezTo>
                    <a:lnTo>
                      <a:pt x="160020" y="127635"/>
                    </a:lnTo>
                    <a:lnTo>
                      <a:pt x="254318" y="127635"/>
                    </a:lnTo>
                    <a:lnTo>
                      <a:pt x="340043" y="127635"/>
                    </a:lnTo>
                    <a:cubicBezTo>
                      <a:pt x="340995" y="77152"/>
                      <a:pt x="300038" y="37148"/>
                      <a:pt x="250508" y="37148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6" name="组合 15"/>
              <p:cNvGrpSpPr/>
              <p:nvPr/>
            </p:nvGrpSpPr>
            <p:grpSpPr>
              <a:xfrm>
                <a:off x="2737484" y="2132647"/>
                <a:ext cx="704850" cy="640080"/>
                <a:chOff x="2737484" y="2132647"/>
                <a:chExt cx="704850" cy="640080"/>
              </a:xfrm>
            </p:grpSpPr>
            <p:sp>
              <p:nvSpPr>
                <p:cNvPr id="18" name="任意多边形 235"/>
                <p:cNvSpPr/>
                <p:nvPr/>
              </p:nvSpPr>
              <p:spPr>
                <a:xfrm>
                  <a:off x="3063239" y="2425065"/>
                  <a:ext cx="49530" cy="347662"/>
                </a:xfrm>
                <a:custGeom>
                  <a:avLst/>
                  <a:gdLst>
                    <a:gd name="connsiteX0" fmla="*/ 0 w 49530"/>
                    <a:gd name="connsiteY0" fmla="*/ 347663 h 347662"/>
                    <a:gd name="connsiteX1" fmla="*/ 49530 w 49530"/>
                    <a:gd name="connsiteY1" fmla="*/ 347663 h 347662"/>
                    <a:gd name="connsiteX2" fmla="*/ 43815 w 49530"/>
                    <a:gd name="connsiteY2" fmla="*/ 0 h 347662"/>
                    <a:gd name="connsiteX3" fmla="*/ 8573 w 49530"/>
                    <a:gd name="connsiteY3" fmla="*/ 0 h 347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9530" h="347662">
                      <a:moveTo>
                        <a:pt x="0" y="347663"/>
                      </a:moveTo>
                      <a:lnTo>
                        <a:pt x="49530" y="347663"/>
                      </a:lnTo>
                      <a:lnTo>
                        <a:pt x="43815" y="0"/>
                      </a:lnTo>
                      <a:lnTo>
                        <a:pt x="8573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" name="任意多边形 236"/>
                <p:cNvSpPr/>
                <p:nvPr/>
              </p:nvSpPr>
              <p:spPr>
                <a:xfrm>
                  <a:off x="3097529" y="2373629"/>
                  <a:ext cx="150866" cy="200025"/>
                </a:xfrm>
                <a:custGeom>
                  <a:avLst/>
                  <a:gdLst>
                    <a:gd name="connsiteX0" fmla="*/ 952 w 150866"/>
                    <a:gd name="connsiteY0" fmla="*/ 158115 h 200025"/>
                    <a:gd name="connsiteX1" fmla="*/ 110490 w 150866"/>
                    <a:gd name="connsiteY1" fmla="*/ 0 h 200025"/>
                    <a:gd name="connsiteX2" fmla="*/ 149543 w 150866"/>
                    <a:gd name="connsiteY2" fmla="*/ 6667 h 200025"/>
                    <a:gd name="connsiteX3" fmla="*/ 0 w 150866"/>
                    <a:gd name="connsiteY3" fmla="*/ 200025 h 200025"/>
                    <a:gd name="connsiteX4" fmla="*/ 952 w 150866"/>
                    <a:gd name="connsiteY4" fmla="*/ 158115 h 200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66" h="200025">
                      <a:moveTo>
                        <a:pt x="952" y="158115"/>
                      </a:moveTo>
                      <a:cubicBezTo>
                        <a:pt x="952" y="158115"/>
                        <a:pt x="152400" y="141923"/>
                        <a:pt x="110490" y="0"/>
                      </a:cubicBezTo>
                      <a:lnTo>
                        <a:pt x="149543" y="6667"/>
                      </a:lnTo>
                      <a:cubicBezTo>
                        <a:pt x="149543" y="6667"/>
                        <a:pt x="175260" y="144780"/>
                        <a:pt x="0" y="200025"/>
                      </a:cubicBezTo>
                      <a:lnTo>
                        <a:pt x="952" y="158115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" name="任意多边形 237"/>
                <p:cNvSpPr/>
                <p:nvPr/>
              </p:nvSpPr>
              <p:spPr>
                <a:xfrm>
                  <a:off x="2968935" y="2326957"/>
                  <a:ext cx="120973" cy="156209"/>
                </a:xfrm>
                <a:custGeom>
                  <a:avLst/>
                  <a:gdLst>
                    <a:gd name="connsiteX0" fmla="*/ 30486 w 120973"/>
                    <a:gd name="connsiteY0" fmla="*/ 10477 h 156209"/>
                    <a:gd name="connsiteX1" fmla="*/ 120974 w 120973"/>
                    <a:gd name="connsiteY1" fmla="*/ 128588 h 156209"/>
                    <a:gd name="connsiteX2" fmla="*/ 106686 w 120973"/>
                    <a:gd name="connsiteY2" fmla="*/ 156210 h 156209"/>
                    <a:gd name="connsiteX3" fmla="*/ 6 w 120973"/>
                    <a:gd name="connsiteY3" fmla="*/ 0 h 156209"/>
                    <a:gd name="connsiteX4" fmla="*/ 30486 w 120973"/>
                    <a:gd name="connsiteY4" fmla="*/ 10477 h 156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0973" h="156209">
                      <a:moveTo>
                        <a:pt x="30486" y="10477"/>
                      </a:moveTo>
                      <a:cubicBezTo>
                        <a:pt x="30486" y="10477"/>
                        <a:pt x="5721" y="125730"/>
                        <a:pt x="120974" y="128588"/>
                      </a:cubicBezTo>
                      <a:lnTo>
                        <a:pt x="106686" y="156210"/>
                      </a:lnTo>
                      <a:cubicBezTo>
                        <a:pt x="106686" y="156210"/>
                        <a:pt x="-946" y="141922"/>
                        <a:pt x="6" y="0"/>
                      </a:cubicBezTo>
                      <a:lnTo>
                        <a:pt x="30486" y="10477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" name="任意多边形 238"/>
                <p:cNvSpPr/>
                <p:nvPr/>
              </p:nvSpPr>
              <p:spPr>
                <a:xfrm>
                  <a:off x="2832734" y="2346959"/>
                  <a:ext cx="167640" cy="97818"/>
                </a:xfrm>
                <a:custGeom>
                  <a:avLst/>
                  <a:gdLst>
                    <a:gd name="connsiteX0" fmla="*/ 32385 w 167640"/>
                    <a:gd name="connsiteY0" fmla="*/ 0 h 97818"/>
                    <a:gd name="connsiteX1" fmla="*/ 167640 w 167640"/>
                    <a:gd name="connsiteY1" fmla="*/ 61913 h 97818"/>
                    <a:gd name="connsiteX2" fmla="*/ 167640 w 167640"/>
                    <a:gd name="connsiteY2" fmla="*/ 92393 h 97818"/>
                    <a:gd name="connsiteX3" fmla="*/ 0 w 167640"/>
                    <a:gd name="connsiteY3" fmla="*/ 4763 h 97818"/>
                    <a:gd name="connsiteX4" fmla="*/ 32385 w 167640"/>
                    <a:gd name="connsiteY4" fmla="*/ 0 h 97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97818">
                      <a:moveTo>
                        <a:pt x="32385" y="0"/>
                      </a:moveTo>
                      <a:cubicBezTo>
                        <a:pt x="32385" y="0"/>
                        <a:pt x="64770" y="112395"/>
                        <a:pt x="167640" y="61913"/>
                      </a:cubicBezTo>
                      <a:lnTo>
                        <a:pt x="167640" y="92393"/>
                      </a:lnTo>
                      <a:cubicBezTo>
                        <a:pt x="167640" y="92393"/>
                        <a:pt x="65723" y="130493"/>
                        <a:pt x="0" y="4763"/>
                      </a:cubicBezTo>
                      <a:lnTo>
                        <a:pt x="32385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" name="任意多边形 239"/>
                <p:cNvSpPr/>
                <p:nvPr/>
              </p:nvSpPr>
              <p:spPr>
                <a:xfrm>
                  <a:off x="3191826" y="2437447"/>
                  <a:ext cx="179070" cy="91847"/>
                </a:xfrm>
                <a:custGeom>
                  <a:avLst/>
                  <a:gdLst>
                    <a:gd name="connsiteX0" fmla="*/ 18098 w 179070"/>
                    <a:gd name="connsiteY0" fmla="*/ 56198 h 91847"/>
                    <a:gd name="connsiteX1" fmla="*/ 156210 w 179070"/>
                    <a:gd name="connsiteY1" fmla="*/ 0 h 91847"/>
                    <a:gd name="connsiteX2" fmla="*/ 179070 w 179070"/>
                    <a:gd name="connsiteY2" fmla="*/ 20955 h 91847"/>
                    <a:gd name="connsiteX3" fmla="*/ 0 w 179070"/>
                    <a:gd name="connsiteY3" fmla="*/ 82868 h 91847"/>
                    <a:gd name="connsiteX4" fmla="*/ 18098 w 179070"/>
                    <a:gd name="connsiteY4" fmla="*/ 56198 h 91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9070" h="91847">
                      <a:moveTo>
                        <a:pt x="18098" y="56198"/>
                      </a:moveTo>
                      <a:cubicBezTo>
                        <a:pt x="18098" y="56198"/>
                        <a:pt x="122873" y="109538"/>
                        <a:pt x="156210" y="0"/>
                      </a:cubicBezTo>
                      <a:lnTo>
                        <a:pt x="179070" y="20955"/>
                      </a:lnTo>
                      <a:cubicBezTo>
                        <a:pt x="179070" y="20955"/>
                        <a:pt x="137160" y="121920"/>
                        <a:pt x="0" y="82868"/>
                      </a:cubicBezTo>
                      <a:lnTo>
                        <a:pt x="18098" y="56198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" name="任意多边形 240"/>
                <p:cNvSpPr/>
                <p:nvPr/>
              </p:nvSpPr>
              <p:spPr>
                <a:xfrm>
                  <a:off x="2895599" y="2154554"/>
                  <a:ext cx="180975" cy="215265"/>
                </a:xfrm>
                <a:custGeom>
                  <a:avLst/>
                  <a:gdLst>
                    <a:gd name="connsiteX0" fmla="*/ 180975 w 180975"/>
                    <a:gd name="connsiteY0" fmla="*/ 119063 h 215265"/>
                    <a:gd name="connsiteX1" fmla="*/ 90488 w 180975"/>
                    <a:gd name="connsiteY1" fmla="*/ 215265 h 215265"/>
                    <a:gd name="connsiteX2" fmla="*/ 0 w 180975"/>
                    <a:gd name="connsiteY2" fmla="*/ 119063 h 215265"/>
                    <a:gd name="connsiteX3" fmla="*/ 90488 w 180975"/>
                    <a:gd name="connsiteY3" fmla="*/ 0 h 215265"/>
                    <a:gd name="connsiteX4" fmla="*/ 180975 w 180975"/>
                    <a:gd name="connsiteY4" fmla="*/ 119063 h 215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975" h="215265">
                      <a:moveTo>
                        <a:pt x="180975" y="119063"/>
                      </a:moveTo>
                      <a:cubicBezTo>
                        <a:pt x="180975" y="184785"/>
                        <a:pt x="140970" y="215265"/>
                        <a:pt x="90488" y="215265"/>
                      </a:cubicBezTo>
                      <a:cubicBezTo>
                        <a:pt x="40957" y="215265"/>
                        <a:pt x="0" y="184785"/>
                        <a:pt x="0" y="119063"/>
                      </a:cubicBezTo>
                      <a:cubicBezTo>
                        <a:pt x="0" y="53340"/>
                        <a:pt x="40005" y="0"/>
                        <a:pt x="90488" y="0"/>
                      </a:cubicBezTo>
                      <a:cubicBezTo>
                        <a:pt x="140018" y="0"/>
                        <a:pt x="180975" y="53340"/>
                        <a:pt x="180975" y="11906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" name="任意多边形 241"/>
                <p:cNvSpPr/>
                <p:nvPr/>
              </p:nvSpPr>
              <p:spPr>
                <a:xfrm>
                  <a:off x="2737484" y="2132647"/>
                  <a:ext cx="217170" cy="259080"/>
                </a:xfrm>
                <a:custGeom>
                  <a:avLst/>
                  <a:gdLst>
                    <a:gd name="connsiteX0" fmla="*/ 217170 w 217170"/>
                    <a:gd name="connsiteY0" fmla="*/ 142875 h 259080"/>
                    <a:gd name="connsiteX1" fmla="*/ 108585 w 217170"/>
                    <a:gd name="connsiteY1" fmla="*/ 259080 h 259080"/>
                    <a:gd name="connsiteX2" fmla="*/ 0 w 217170"/>
                    <a:gd name="connsiteY2" fmla="*/ 142875 h 259080"/>
                    <a:gd name="connsiteX3" fmla="*/ 108585 w 217170"/>
                    <a:gd name="connsiteY3" fmla="*/ 0 h 259080"/>
                    <a:gd name="connsiteX4" fmla="*/ 217170 w 217170"/>
                    <a:gd name="connsiteY4" fmla="*/ 142875 h 259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70" h="259080">
                      <a:moveTo>
                        <a:pt x="217170" y="142875"/>
                      </a:moveTo>
                      <a:cubicBezTo>
                        <a:pt x="217170" y="221933"/>
                        <a:pt x="168593" y="259080"/>
                        <a:pt x="108585" y="259080"/>
                      </a:cubicBezTo>
                      <a:cubicBezTo>
                        <a:pt x="48578" y="259080"/>
                        <a:pt x="0" y="222885"/>
                        <a:pt x="0" y="142875"/>
                      </a:cubicBezTo>
                      <a:cubicBezTo>
                        <a:pt x="0" y="63818"/>
                        <a:pt x="48578" y="0"/>
                        <a:pt x="108585" y="0"/>
                      </a:cubicBezTo>
                      <a:cubicBezTo>
                        <a:pt x="168593" y="0"/>
                        <a:pt x="217170" y="63818"/>
                        <a:pt x="217170" y="142875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5" name="任意多边形 242"/>
                <p:cNvSpPr/>
                <p:nvPr/>
              </p:nvSpPr>
              <p:spPr>
                <a:xfrm>
                  <a:off x="3108959" y="2200275"/>
                  <a:ext cx="217169" cy="218122"/>
                </a:xfrm>
                <a:custGeom>
                  <a:avLst/>
                  <a:gdLst>
                    <a:gd name="connsiteX0" fmla="*/ 217170 w 217169"/>
                    <a:gd name="connsiteY0" fmla="*/ 120967 h 218122"/>
                    <a:gd name="connsiteX1" fmla="*/ 108585 w 217169"/>
                    <a:gd name="connsiteY1" fmla="*/ 218122 h 218122"/>
                    <a:gd name="connsiteX2" fmla="*/ 0 w 217169"/>
                    <a:gd name="connsiteY2" fmla="*/ 120967 h 218122"/>
                    <a:gd name="connsiteX3" fmla="*/ 108585 w 217169"/>
                    <a:gd name="connsiteY3" fmla="*/ 0 h 218122"/>
                    <a:gd name="connsiteX4" fmla="*/ 217170 w 217169"/>
                    <a:gd name="connsiteY4" fmla="*/ 120967 h 218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69" h="218122">
                      <a:moveTo>
                        <a:pt x="217170" y="120967"/>
                      </a:moveTo>
                      <a:cubicBezTo>
                        <a:pt x="217170" y="187642"/>
                        <a:pt x="168592" y="218122"/>
                        <a:pt x="108585" y="218122"/>
                      </a:cubicBezTo>
                      <a:cubicBezTo>
                        <a:pt x="48577" y="218122"/>
                        <a:pt x="0" y="187642"/>
                        <a:pt x="0" y="120967"/>
                      </a:cubicBezTo>
                      <a:cubicBezTo>
                        <a:pt x="0" y="54292"/>
                        <a:pt x="48577" y="0"/>
                        <a:pt x="108585" y="0"/>
                      </a:cubicBezTo>
                      <a:cubicBezTo>
                        <a:pt x="168592" y="0"/>
                        <a:pt x="217170" y="54292"/>
                        <a:pt x="217170" y="120967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6" name="任意多边形 243"/>
                <p:cNvSpPr/>
                <p:nvPr/>
              </p:nvSpPr>
              <p:spPr>
                <a:xfrm>
                  <a:off x="3016567" y="2297429"/>
                  <a:ext cx="142875" cy="144779"/>
                </a:xfrm>
                <a:custGeom>
                  <a:avLst/>
                  <a:gdLst>
                    <a:gd name="connsiteX0" fmla="*/ 142875 w 142875"/>
                    <a:gd name="connsiteY0" fmla="*/ 80010 h 144779"/>
                    <a:gd name="connsiteX1" fmla="*/ 71438 w 142875"/>
                    <a:gd name="connsiteY1" fmla="*/ 144780 h 144779"/>
                    <a:gd name="connsiteX2" fmla="*/ 0 w 142875"/>
                    <a:gd name="connsiteY2" fmla="*/ 80010 h 144779"/>
                    <a:gd name="connsiteX3" fmla="*/ 71438 w 142875"/>
                    <a:gd name="connsiteY3" fmla="*/ 0 h 144779"/>
                    <a:gd name="connsiteX4" fmla="*/ 142875 w 142875"/>
                    <a:gd name="connsiteY4" fmla="*/ 80010 h 144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875" h="144779">
                      <a:moveTo>
                        <a:pt x="142875" y="80010"/>
                      </a:moveTo>
                      <a:cubicBezTo>
                        <a:pt x="142875" y="123825"/>
                        <a:pt x="110490" y="144780"/>
                        <a:pt x="71438" y="144780"/>
                      </a:cubicBezTo>
                      <a:cubicBezTo>
                        <a:pt x="31432" y="144780"/>
                        <a:pt x="0" y="124778"/>
                        <a:pt x="0" y="80010"/>
                      </a:cubicBezTo>
                      <a:cubicBezTo>
                        <a:pt x="0" y="36195"/>
                        <a:pt x="32385" y="0"/>
                        <a:pt x="71438" y="0"/>
                      </a:cubicBezTo>
                      <a:cubicBezTo>
                        <a:pt x="110490" y="0"/>
                        <a:pt x="142875" y="36195"/>
                        <a:pt x="142875" y="8001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7" name="任意多边形 244"/>
                <p:cNvSpPr/>
                <p:nvPr/>
              </p:nvSpPr>
              <p:spPr>
                <a:xfrm>
                  <a:off x="3274694" y="2323147"/>
                  <a:ext cx="167640" cy="167640"/>
                </a:xfrm>
                <a:custGeom>
                  <a:avLst/>
                  <a:gdLst>
                    <a:gd name="connsiteX0" fmla="*/ 167640 w 167640"/>
                    <a:gd name="connsiteY0" fmla="*/ 92393 h 167640"/>
                    <a:gd name="connsiteX1" fmla="*/ 83820 w 167640"/>
                    <a:gd name="connsiteY1" fmla="*/ 167640 h 167640"/>
                    <a:gd name="connsiteX2" fmla="*/ 0 w 167640"/>
                    <a:gd name="connsiteY2" fmla="*/ 92393 h 167640"/>
                    <a:gd name="connsiteX3" fmla="*/ 83820 w 167640"/>
                    <a:gd name="connsiteY3" fmla="*/ 0 h 167640"/>
                    <a:gd name="connsiteX4" fmla="*/ 167640 w 167640"/>
                    <a:gd name="connsiteY4" fmla="*/ 92393 h 1676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167640">
                      <a:moveTo>
                        <a:pt x="167640" y="92393"/>
                      </a:moveTo>
                      <a:cubicBezTo>
                        <a:pt x="167640" y="143828"/>
                        <a:pt x="130493" y="167640"/>
                        <a:pt x="83820" y="167640"/>
                      </a:cubicBezTo>
                      <a:cubicBezTo>
                        <a:pt x="38100" y="167640"/>
                        <a:pt x="0" y="143828"/>
                        <a:pt x="0" y="92393"/>
                      </a:cubicBezTo>
                      <a:cubicBezTo>
                        <a:pt x="0" y="40958"/>
                        <a:pt x="37148" y="0"/>
                        <a:pt x="83820" y="0"/>
                      </a:cubicBezTo>
                      <a:cubicBezTo>
                        <a:pt x="129540" y="0"/>
                        <a:pt x="167640" y="40958"/>
                        <a:pt x="167640" y="9239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7" name="任意多边形 245"/>
              <p:cNvSpPr/>
              <p:nvPr/>
            </p:nvSpPr>
            <p:spPr>
              <a:xfrm>
                <a:off x="2830829" y="2681287"/>
                <a:ext cx="247650" cy="92392"/>
              </a:xfrm>
              <a:custGeom>
                <a:avLst/>
                <a:gdLst>
                  <a:gd name="connsiteX0" fmla="*/ 65723 w 247650"/>
                  <a:gd name="connsiteY0" fmla="*/ 26670 h 92392"/>
                  <a:gd name="connsiteX1" fmla="*/ 86677 w 247650"/>
                  <a:gd name="connsiteY1" fmla="*/ 30480 h 92392"/>
                  <a:gd name="connsiteX2" fmla="*/ 155258 w 247650"/>
                  <a:gd name="connsiteY2" fmla="*/ 0 h 92392"/>
                  <a:gd name="connsiteX3" fmla="*/ 247650 w 247650"/>
                  <a:gd name="connsiteY3" fmla="*/ 92393 h 92392"/>
                  <a:gd name="connsiteX4" fmla="*/ 130493 w 247650"/>
                  <a:gd name="connsiteY4" fmla="*/ 92393 h 92392"/>
                  <a:gd name="connsiteX5" fmla="*/ 61913 w 247650"/>
                  <a:gd name="connsiteY5" fmla="*/ 92393 h 92392"/>
                  <a:gd name="connsiteX6" fmla="*/ 0 w 247650"/>
                  <a:gd name="connsiteY6" fmla="*/ 92393 h 92392"/>
                  <a:gd name="connsiteX7" fmla="*/ 65723 w 247650"/>
                  <a:gd name="connsiteY7" fmla="*/ 26670 h 92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7650" h="92392">
                    <a:moveTo>
                      <a:pt x="65723" y="26670"/>
                    </a:moveTo>
                    <a:cubicBezTo>
                      <a:pt x="73343" y="26670"/>
                      <a:pt x="80010" y="27622"/>
                      <a:pt x="86677" y="30480"/>
                    </a:cubicBezTo>
                    <a:cubicBezTo>
                      <a:pt x="103823" y="11430"/>
                      <a:pt x="127635" y="0"/>
                      <a:pt x="155258" y="0"/>
                    </a:cubicBezTo>
                    <a:cubicBezTo>
                      <a:pt x="206693" y="0"/>
                      <a:pt x="247650" y="40957"/>
                      <a:pt x="247650" y="92393"/>
                    </a:cubicBezTo>
                    <a:lnTo>
                      <a:pt x="130493" y="92393"/>
                    </a:lnTo>
                    <a:lnTo>
                      <a:pt x="61913" y="92393"/>
                    </a:lnTo>
                    <a:lnTo>
                      <a:pt x="0" y="92393"/>
                    </a:lnTo>
                    <a:cubicBezTo>
                      <a:pt x="0" y="56197"/>
                      <a:pt x="29528" y="26670"/>
                      <a:pt x="65723" y="2667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pic>
        <p:nvPicPr>
          <p:cNvPr id="3" name="图片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35" y="1113155"/>
            <a:ext cx="12065000" cy="4826000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esult of autoencoder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1</a:t>
            </a:fld>
            <a:endParaRPr lang="zh-CN" altLang="en-US"/>
          </a:p>
        </p:txBody>
      </p:sp>
      <p:grpSp>
        <p:nvGrpSpPr>
          <p:cNvPr id="5" name="组合 4"/>
          <p:cNvGrpSpPr/>
          <p:nvPr/>
        </p:nvGrpSpPr>
        <p:grpSpPr>
          <a:xfrm>
            <a:off x="8358909" y="5477164"/>
            <a:ext cx="3719729" cy="1298762"/>
            <a:chOff x="2772569" y="2151697"/>
            <a:chExt cx="6719888" cy="2554605"/>
          </a:xfrm>
        </p:grpSpPr>
        <p:grpSp>
          <p:nvGrpSpPr>
            <p:cNvPr id="6" name="组合 5"/>
            <p:cNvGrpSpPr/>
            <p:nvPr/>
          </p:nvGrpSpPr>
          <p:grpSpPr>
            <a:xfrm>
              <a:off x="7873207" y="2151697"/>
              <a:ext cx="1093469" cy="2553652"/>
              <a:chOff x="7838122" y="219075"/>
              <a:chExt cx="1093469" cy="2553652"/>
            </a:xfrm>
          </p:grpSpPr>
          <p:sp>
            <p:nvSpPr>
              <p:cNvPr id="79" name="任意多边形 157"/>
              <p:cNvSpPr/>
              <p:nvPr/>
            </p:nvSpPr>
            <p:spPr>
              <a:xfrm>
                <a:off x="8309609" y="280987"/>
                <a:ext cx="151447" cy="2491740"/>
              </a:xfrm>
              <a:custGeom>
                <a:avLst/>
                <a:gdLst>
                  <a:gd name="connsiteX0" fmla="*/ 151447 w 151447"/>
                  <a:gd name="connsiteY0" fmla="*/ 2491740 h 2491740"/>
                  <a:gd name="connsiteX1" fmla="*/ 0 w 151447"/>
                  <a:gd name="connsiteY1" fmla="*/ 2491740 h 2491740"/>
                  <a:gd name="connsiteX2" fmla="*/ 52388 w 151447"/>
                  <a:gd name="connsiteY2" fmla="*/ 0 h 2491740"/>
                  <a:gd name="connsiteX3" fmla="*/ 99060 w 151447"/>
                  <a:gd name="connsiteY3" fmla="*/ 0 h 249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1447" h="2491740">
                    <a:moveTo>
                      <a:pt x="151447" y="2491740"/>
                    </a:moveTo>
                    <a:lnTo>
                      <a:pt x="0" y="2491740"/>
                    </a:lnTo>
                    <a:lnTo>
                      <a:pt x="52388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80" name="组合 79"/>
              <p:cNvGrpSpPr/>
              <p:nvPr/>
            </p:nvGrpSpPr>
            <p:grpSpPr>
              <a:xfrm>
                <a:off x="7838122" y="219075"/>
                <a:ext cx="1093469" cy="1788795"/>
                <a:chOff x="7838122" y="219075"/>
                <a:chExt cx="1093469" cy="1788795"/>
              </a:xfrm>
            </p:grpSpPr>
            <p:sp>
              <p:nvSpPr>
                <p:cNvPr id="81" name="任意多边形 159"/>
                <p:cNvSpPr/>
                <p:nvPr/>
              </p:nvSpPr>
              <p:spPr>
                <a:xfrm>
                  <a:off x="7838122" y="1418272"/>
                  <a:ext cx="1093469" cy="589597"/>
                </a:xfrm>
                <a:custGeom>
                  <a:avLst/>
                  <a:gdLst>
                    <a:gd name="connsiteX0" fmla="*/ 542925 w 1093469"/>
                    <a:gd name="connsiteY0" fmla="*/ 0 h 589597"/>
                    <a:gd name="connsiteX1" fmla="*/ 0 w 1093469"/>
                    <a:gd name="connsiteY1" fmla="*/ 589598 h 589597"/>
                    <a:gd name="connsiteX2" fmla="*/ 546735 w 1093469"/>
                    <a:gd name="connsiteY2" fmla="*/ 589598 h 589597"/>
                    <a:gd name="connsiteX3" fmla="*/ 1093470 w 1093469"/>
                    <a:gd name="connsiteY3" fmla="*/ 589598 h 589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93469" h="589597">
                      <a:moveTo>
                        <a:pt x="542925" y="0"/>
                      </a:moveTo>
                      <a:lnTo>
                        <a:pt x="0" y="589598"/>
                      </a:lnTo>
                      <a:lnTo>
                        <a:pt x="546735" y="589598"/>
                      </a:lnTo>
                      <a:lnTo>
                        <a:pt x="1093470" y="589598"/>
                      </a:ln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2" name="任意多边形 160"/>
                <p:cNvSpPr/>
                <p:nvPr/>
              </p:nvSpPr>
              <p:spPr>
                <a:xfrm>
                  <a:off x="7892414" y="1091564"/>
                  <a:ext cx="979170" cy="480060"/>
                </a:xfrm>
                <a:custGeom>
                  <a:avLst/>
                  <a:gdLst>
                    <a:gd name="connsiteX0" fmla="*/ 486728 w 979170"/>
                    <a:gd name="connsiteY0" fmla="*/ 0 h 480060"/>
                    <a:gd name="connsiteX1" fmla="*/ 0 w 979170"/>
                    <a:gd name="connsiteY1" fmla="*/ 480060 h 480060"/>
                    <a:gd name="connsiteX2" fmla="*/ 489585 w 979170"/>
                    <a:gd name="connsiteY2" fmla="*/ 480060 h 480060"/>
                    <a:gd name="connsiteX3" fmla="*/ 979170 w 979170"/>
                    <a:gd name="connsiteY3" fmla="*/ 480060 h 4800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9170" h="480060">
                      <a:moveTo>
                        <a:pt x="486728" y="0"/>
                      </a:moveTo>
                      <a:lnTo>
                        <a:pt x="0" y="480060"/>
                      </a:lnTo>
                      <a:lnTo>
                        <a:pt x="489585" y="480060"/>
                      </a:lnTo>
                      <a:lnTo>
                        <a:pt x="979170" y="480060"/>
                      </a:ln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3" name="任意多边形 161"/>
                <p:cNvSpPr/>
                <p:nvPr/>
              </p:nvSpPr>
              <p:spPr>
                <a:xfrm>
                  <a:off x="7937181" y="819150"/>
                  <a:ext cx="886777" cy="398145"/>
                </a:xfrm>
                <a:custGeom>
                  <a:avLst/>
                  <a:gdLst>
                    <a:gd name="connsiteX0" fmla="*/ 441007 w 886777"/>
                    <a:gd name="connsiteY0" fmla="*/ 0 h 398145"/>
                    <a:gd name="connsiteX1" fmla="*/ 0 w 886777"/>
                    <a:gd name="connsiteY1" fmla="*/ 398145 h 398145"/>
                    <a:gd name="connsiteX2" fmla="*/ 442913 w 886777"/>
                    <a:gd name="connsiteY2" fmla="*/ 398145 h 398145"/>
                    <a:gd name="connsiteX3" fmla="*/ 886778 w 886777"/>
                    <a:gd name="connsiteY3" fmla="*/ 398145 h 3981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86777" h="398145">
                      <a:moveTo>
                        <a:pt x="441007" y="0"/>
                      </a:moveTo>
                      <a:lnTo>
                        <a:pt x="0" y="398145"/>
                      </a:lnTo>
                      <a:lnTo>
                        <a:pt x="442913" y="398145"/>
                      </a:lnTo>
                      <a:lnTo>
                        <a:pt x="886778" y="398145"/>
                      </a:ln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4" name="任意多边形 162"/>
                <p:cNvSpPr/>
                <p:nvPr/>
              </p:nvSpPr>
              <p:spPr>
                <a:xfrm>
                  <a:off x="7973376" y="587692"/>
                  <a:ext cx="809625" cy="336232"/>
                </a:xfrm>
                <a:custGeom>
                  <a:avLst/>
                  <a:gdLst>
                    <a:gd name="connsiteX0" fmla="*/ 402908 w 809625"/>
                    <a:gd name="connsiteY0" fmla="*/ 0 h 336232"/>
                    <a:gd name="connsiteX1" fmla="*/ 0 w 809625"/>
                    <a:gd name="connsiteY1" fmla="*/ 336233 h 336232"/>
                    <a:gd name="connsiteX2" fmla="*/ 404813 w 809625"/>
                    <a:gd name="connsiteY2" fmla="*/ 336233 h 336232"/>
                    <a:gd name="connsiteX3" fmla="*/ 809625 w 809625"/>
                    <a:gd name="connsiteY3" fmla="*/ 336233 h 336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9625" h="336232">
                      <a:moveTo>
                        <a:pt x="402908" y="0"/>
                      </a:moveTo>
                      <a:lnTo>
                        <a:pt x="0" y="336233"/>
                      </a:lnTo>
                      <a:lnTo>
                        <a:pt x="404813" y="336233"/>
                      </a:lnTo>
                      <a:lnTo>
                        <a:pt x="809625" y="336233"/>
                      </a:lnTo>
                      <a:close/>
                    </a:path>
                  </a:pathLst>
                </a:custGeom>
                <a:solidFill>
                  <a:srgbClr val="45BC5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5" name="任意多边形 163"/>
                <p:cNvSpPr/>
                <p:nvPr/>
              </p:nvSpPr>
              <p:spPr>
                <a:xfrm>
                  <a:off x="8003856" y="390525"/>
                  <a:ext cx="745807" cy="286702"/>
                </a:xfrm>
                <a:custGeom>
                  <a:avLst/>
                  <a:gdLst>
                    <a:gd name="connsiteX0" fmla="*/ 371475 w 745807"/>
                    <a:gd name="connsiteY0" fmla="*/ 0 h 286702"/>
                    <a:gd name="connsiteX1" fmla="*/ 0 w 745807"/>
                    <a:gd name="connsiteY1" fmla="*/ 286703 h 286702"/>
                    <a:gd name="connsiteX2" fmla="*/ 373380 w 745807"/>
                    <a:gd name="connsiteY2" fmla="*/ 286703 h 286702"/>
                    <a:gd name="connsiteX3" fmla="*/ 745807 w 745807"/>
                    <a:gd name="connsiteY3" fmla="*/ 286703 h 286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5807" h="286702">
                      <a:moveTo>
                        <a:pt x="371475" y="0"/>
                      </a:moveTo>
                      <a:lnTo>
                        <a:pt x="0" y="286703"/>
                      </a:lnTo>
                      <a:lnTo>
                        <a:pt x="373380" y="286703"/>
                      </a:lnTo>
                      <a:lnTo>
                        <a:pt x="745807" y="286703"/>
                      </a:ln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6" name="任意多边形 164"/>
                <p:cNvSpPr/>
                <p:nvPr/>
              </p:nvSpPr>
              <p:spPr>
                <a:xfrm>
                  <a:off x="8030526" y="219075"/>
                  <a:ext cx="690562" cy="248602"/>
                </a:xfrm>
                <a:custGeom>
                  <a:avLst/>
                  <a:gdLst>
                    <a:gd name="connsiteX0" fmla="*/ 343853 w 690562"/>
                    <a:gd name="connsiteY0" fmla="*/ 0 h 248602"/>
                    <a:gd name="connsiteX1" fmla="*/ 0 w 690562"/>
                    <a:gd name="connsiteY1" fmla="*/ 248603 h 248602"/>
                    <a:gd name="connsiteX2" fmla="*/ 344805 w 690562"/>
                    <a:gd name="connsiteY2" fmla="*/ 248603 h 248602"/>
                    <a:gd name="connsiteX3" fmla="*/ 690563 w 690562"/>
                    <a:gd name="connsiteY3" fmla="*/ 248603 h 2486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0562" h="248602">
                      <a:moveTo>
                        <a:pt x="343853" y="0"/>
                      </a:moveTo>
                      <a:lnTo>
                        <a:pt x="0" y="248603"/>
                      </a:lnTo>
                      <a:lnTo>
                        <a:pt x="344805" y="248603"/>
                      </a:lnTo>
                      <a:lnTo>
                        <a:pt x="690563" y="248603"/>
                      </a:ln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7" name="组合 6"/>
            <p:cNvGrpSpPr/>
            <p:nvPr/>
          </p:nvGrpSpPr>
          <p:grpSpPr>
            <a:xfrm>
              <a:off x="5240497" y="2258376"/>
              <a:ext cx="1892617" cy="2446972"/>
              <a:chOff x="5205412" y="325754"/>
              <a:chExt cx="1892617" cy="2446972"/>
            </a:xfrm>
          </p:grpSpPr>
          <p:sp>
            <p:nvSpPr>
              <p:cNvPr id="67" name="任意多边形 168"/>
              <p:cNvSpPr/>
              <p:nvPr/>
            </p:nvSpPr>
            <p:spPr>
              <a:xfrm>
                <a:off x="6055042" y="425767"/>
                <a:ext cx="194309" cy="2346960"/>
              </a:xfrm>
              <a:custGeom>
                <a:avLst/>
                <a:gdLst>
                  <a:gd name="connsiteX0" fmla="*/ 194310 w 194309"/>
                  <a:gd name="connsiteY0" fmla="*/ 2346960 h 2346960"/>
                  <a:gd name="connsiteX1" fmla="*/ 0 w 194309"/>
                  <a:gd name="connsiteY1" fmla="*/ 2346960 h 2346960"/>
                  <a:gd name="connsiteX2" fmla="*/ 66675 w 194309"/>
                  <a:gd name="connsiteY2" fmla="*/ 0 h 2346960"/>
                  <a:gd name="connsiteX3" fmla="*/ 127635 w 194309"/>
                  <a:gd name="connsiteY3" fmla="*/ 0 h 2346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4309" h="2346960">
                    <a:moveTo>
                      <a:pt x="194310" y="2346960"/>
                    </a:moveTo>
                    <a:lnTo>
                      <a:pt x="0" y="2346960"/>
                    </a:lnTo>
                    <a:lnTo>
                      <a:pt x="66675" y="0"/>
                    </a:lnTo>
                    <a:lnTo>
                      <a:pt x="127635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8" name="组合 67"/>
              <p:cNvGrpSpPr/>
              <p:nvPr/>
            </p:nvGrpSpPr>
            <p:grpSpPr>
              <a:xfrm>
                <a:off x="5205412" y="325754"/>
                <a:ext cx="1892617" cy="1728787"/>
                <a:chOff x="5205412" y="325754"/>
                <a:chExt cx="1892617" cy="1728787"/>
              </a:xfrm>
            </p:grpSpPr>
            <p:sp>
              <p:nvSpPr>
                <p:cNvPr id="69" name="任意多边形 170"/>
                <p:cNvSpPr/>
                <p:nvPr/>
              </p:nvSpPr>
              <p:spPr>
                <a:xfrm>
                  <a:off x="5354954" y="596264"/>
                  <a:ext cx="741044" cy="741045"/>
                </a:xfrm>
                <a:custGeom>
                  <a:avLst/>
                  <a:gdLst>
                    <a:gd name="connsiteX0" fmla="*/ 741045 w 741044"/>
                    <a:gd name="connsiteY0" fmla="*/ 370523 h 741045"/>
                    <a:gd name="connsiteX1" fmla="*/ 370522 w 741044"/>
                    <a:gd name="connsiteY1" fmla="*/ 741045 h 741045"/>
                    <a:gd name="connsiteX2" fmla="*/ 0 w 741044"/>
                    <a:gd name="connsiteY2" fmla="*/ 370523 h 741045"/>
                    <a:gd name="connsiteX3" fmla="*/ 370522 w 741044"/>
                    <a:gd name="connsiteY3" fmla="*/ 0 h 741045"/>
                    <a:gd name="connsiteX4" fmla="*/ 741045 w 741044"/>
                    <a:gd name="connsiteY4" fmla="*/ 370523 h 741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1044" h="741045">
                      <a:moveTo>
                        <a:pt x="741045" y="370523"/>
                      </a:moveTo>
                      <a:cubicBezTo>
                        <a:pt x="741045" y="575310"/>
                        <a:pt x="575310" y="741045"/>
                        <a:pt x="370522" y="741045"/>
                      </a:cubicBezTo>
                      <a:cubicBezTo>
                        <a:pt x="165735" y="741045"/>
                        <a:pt x="0" y="575310"/>
                        <a:pt x="0" y="370523"/>
                      </a:cubicBezTo>
                      <a:cubicBezTo>
                        <a:pt x="0" y="165735"/>
                        <a:pt x="165735" y="0"/>
                        <a:pt x="370522" y="0"/>
                      </a:cubicBezTo>
                      <a:cubicBezTo>
                        <a:pt x="574357" y="0"/>
                        <a:pt x="741045" y="165735"/>
                        <a:pt x="741045" y="370523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0" name="任意多边形 171"/>
                <p:cNvSpPr/>
                <p:nvPr/>
              </p:nvSpPr>
              <p:spPr>
                <a:xfrm>
                  <a:off x="6587489" y="866769"/>
                  <a:ext cx="510540" cy="510545"/>
                </a:xfrm>
                <a:custGeom>
                  <a:avLst/>
                  <a:gdLst>
                    <a:gd name="connsiteX0" fmla="*/ 510540 w 510540"/>
                    <a:gd name="connsiteY0" fmla="*/ 255276 h 510545"/>
                    <a:gd name="connsiteX1" fmla="*/ 255270 w 510540"/>
                    <a:gd name="connsiteY1" fmla="*/ 510546 h 510545"/>
                    <a:gd name="connsiteX2" fmla="*/ 0 w 510540"/>
                    <a:gd name="connsiteY2" fmla="*/ 255276 h 510545"/>
                    <a:gd name="connsiteX3" fmla="*/ 255270 w 510540"/>
                    <a:gd name="connsiteY3" fmla="*/ 6 h 510545"/>
                    <a:gd name="connsiteX4" fmla="*/ 510540 w 510540"/>
                    <a:gd name="connsiteY4" fmla="*/ 255276 h 5105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0540" h="510545">
                      <a:moveTo>
                        <a:pt x="510540" y="255276"/>
                      </a:moveTo>
                      <a:cubicBezTo>
                        <a:pt x="510540" y="396246"/>
                        <a:pt x="396240" y="510546"/>
                        <a:pt x="255270" y="510546"/>
                      </a:cubicBezTo>
                      <a:cubicBezTo>
                        <a:pt x="114300" y="510546"/>
                        <a:pt x="0" y="396246"/>
                        <a:pt x="0" y="255276"/>
                      </a:cubicBezTo>
                      <a:cubicBezTo>
                        <a:pt x="0" y="114306"/>
                        <a:pt x="114300" y="6"/>
                        <a:pt x="255270" y="6"/>
                      </a:cubicBezTo>
                      <a:cubicBezTo>
                        <a:pt x="396240" y="-947"/>
                        <a:pt x="510540" y="114306"/>
                        <a:pt x="510540" y="255276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1" name="任意多边形 172"/>
                <p:cNvSpPr/>
                <p:nvPr/>
              </p:nvSpPr>
              <p:spPr>
                <a:xfrm>
                  <a:off x="5427344" y="545782"/>
                  <a:ext cx="1508760" cy="1508759"/>
                </a:xfrm>
                <a:custGeom>
                  <a:avLst/>
                  <a:gdLst>
                    <a:gd name="connsiteX0" fmla="*/ 1508760 w 1508760"/>
                    <a:gd name="connsiteY0" fmla="*/ 754380 h 1508759"/>
                    <a:gd name="connsiteX1" fmla="*/ 754380 w 1508760"/>
                    <a:gd name="connsiteY1" fmla="*/ 1508760 h 1508759"/>
                    <a:gd name="connsiteX2" fmla="*/ 0 w 1508760"/>
                    <a:gd name="connsiteY2" fmla="*/ 754380 h 1508759"/>
                    <a:gd name="connsiteX3" fmla="*/ 754380 w 1508760"/>
                    <a:gd name="connsiteY3" fmla="*/ 0 h 1508759"/>
                    <a:gd name="connsiteX4" fmla="*/ 1508760 w 1508760"/>
                    <a:gd name="connsiteY4" fmla="*/ 754380 h 1508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760" h="1508759">
                      <a:moveTo>
                        <a:pt x="1508760" y="754380"/>
                      </a:moveTo>
                      <a:cubicBezTo>
                        <a:pt x="1508760" y="1170623"/>
                        <a:pt x="1171575" y="1508760"/>
                        <a:pt x="754380" y="1508760"/>
                      </a:cubicBezTo>
                      <a:cubicBezTo>
                        <a:pt x="338138" y="1508760"/>
                        <a:pt x="0" y="1171575"/>
                        <a:pt x="0" y="754380"/>
                      </a:cubicBezTo>
                      <a:cubicBezTo>
                        <a:pt x="0" y="338138"/>
                        <a:pt x="337185" y="0"/>
                        <a:pt x="754380" y="0"/>
                      </a:cubicBezTo>
                      <a:cubicBezTo>
                        <a:pt x="1171575" y="953"/>
                        <a:pt x="1508760" y="338138"/>
                        <a:pt x="1508760" y="754380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2" name="任意多边形 173"/>
                <p:cNvSpPr/>
                <p:nvPr/>
              </p:nvSpPr>
              <p:spPr>
                <a:xfrm>
                  <a:off x="5205412" y="1026795"/>
                  <a:ext cx="798194" cy="798195"/>
                </a:xfrm>
                <a:custGeom>
                  <a:avLst/>
                  <a:gdLst>
                    <a:gd name="connsiteX0" fmla="*/ 798195 w 798194"/>
                    <a:gd name="connsiteY0" fmla="*/ 399097 h 798195"/>
                    <a:gd name="connsiteX1" fmla="*/ 399097 w 798194"/>
                    <a:gd name="connsiteY1" fmla="*/ 798195 h 798195"/>
                    <a:gd name="connsiteX2" fmla="*/ 0 w 798194"/>
                    <a:gd name="connsiteY2" fmla="*/ 399097 h 798195"/>
                    <a:gd name="connsiteX3" fmla="*/ 399097 w 798194"/>
                    <a:gd name="connsiteY3" fmla="*/ 0 h 798195"/>
                    <a:gd name="connsiteX4" fmla="*/ 798195 w 798194"/>
                    <a:gd name="connsiteY4" fmla="*/ 399097 h 798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98194" h="798195">
                      <a:moveTo>
                        <a:pt x="798195" y="399097"/>
                      </a:moveTo>
                      <a:cubicBezTo>
                        <a:pt x="798195" y="619125"/>
                        <a:pt x="619125" y="798195"/>
                        <a:pt x="399097" y="798195"/>
                      </a:cubicBezTo>
                      <a:cubicBezTo>
                        <a:pt x="179070" y="798195"/>
                        <a:pt x="0" y="619125"/>
                        <a:pt x="0" y="399097"/>
                      </a:cubicBezTo>
                      <a:cubicBezTo>
                        <a:pt x="0" y="179070"/>
                        <a:pt x="179070" y="0"/>
                        <a:pt x="399097" y="0"/>
                      </a:cubicBezTo>
                      <a:cubicBezTo>
                        <a:pt x="619125" y="0"/>
                        <a:pt x="798195" y="179070"/>
                        <a:pt x="798195" y="399097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3" name="任意多边形 174"/>
                <p:cNvSpPr/>
                <p:nvPr/>
              </p:nvSpPr>
              <p:spPr>
                <a:xfrm>
                  <a:off x="6276021" y="1425892"/>
                  <a:ext cx="609600" cy="609600"/>
                </a:xfrm>
                <a:custGeom>
                  <a:avLst/>
                  <a:gdLst>
                    <a:gd name="connsiteX0" fmla="*/ 609600 w 609600"/>
                    <a:gd name="connsiteY0" fmla="*/ 304800 h 609600"/>
                    <a:gd name="connsiteX1" fmla="*/ 304800 w 609600"/>
                    <a:gd name="connsiteY1" fmla="*/ 609600 h 609600"/>
                    <a:gd name="connsiteX2" fmla="*/ 0 w 609600"/>
                    <a:gd name="connsiteY2" fmla="*/ 304800 h 609600"/>
                    <a:gd name="connsiteX3" fmla="*/ 304800 w 609600"/>
                    <a:gd name="connsiteY3" fmla="*/ 0 h 609600"/>
                    <a:gd name="connsiteX4" fmla="*/ 609600 w 609600"/>
                    <a:gd name="connsiteY4" fmla="*/ 304800 h 609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9600" h="609600">
                      <a:moveTo>
                        <a:pt x="609600" y="304800"/>
                      </a:moveTo>
                      <a:cubicBezTo>
                        <a:pt x="609600" y="473392"/>
                        <a:pt x="473393" y="609600"/>
                        <a:pt x="304800" y="609600"/>
                      </a:cubicBezTo>
                      <a:cubicBezTo>
                        <a:pt x="136208" y="609600"/>
                        <a:pt x="0" y="473392"/>
                        <a:pt x="0" y="304800"/>
                      </a:cubicBezTo>
                      <a:cubicBezTo>
                        <a:pt x="0" y="136208"/>
                        <a:pt x="136208" y="0"/>
                        <a:pt x="304800" y="0"/>
                      </a:cubicBezTo>
                      <a:cubicBezTo>
                        <a:pt x="473393" y="0"/>
                        <a:pt x="609600" y="136208"/>
                        <a:pt x="609600" y="30480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4" name="任意多边形 175"/>
                <p:cNvSpPr/>
                <p:nvPr/>
              </p:nvSpPr>
              <p:spPr>
                <a:xfrm>
                  <a:off x="5838824" y="325754"/>
                  <a:ext cx="1003934" cy="1003934"/>
                </a:xfrm>
                <a:custGeom>
                  <a:avLst/>
                  <a:gdLst>
                    <a:gd name="connsiteX0" fmla="*/ 1003935 w 1003934"/>
                    <a:gd name="connsiteY0" fmla="*/ 501968 h 1003934"/>
                    <a:gd name="connsiteX1" fmla="*/ 501968 w 1003934"/>
                    <a:gd name="connsiteY1" fmla="*/ 1003935 h 1003934"/>
                    <a:gd name="connsiteX2" fmla="*/ 0 w 1003934"/>
                    <a:gd name="connsiteY2" fmla="*/ 501968 h 1003934"/>
                    <a:gd name="connsiteX3" fmla="*/ 501968 w 1003934"/>
                    <a:gd name="connsiteY3" fmla="*/ 0 h 1003934"/>
                    <a:gd name="connsiteX4" fmla="*/ 1003935 w 1003934"/>
                    <a:gd name="connsiteY4" fmla="*/ 501968 h 1003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3934" h="1003934">
                      <a:moveTo>
                        <a:pt x="1003935" y="501968"/>
                      </a:moveTo>
                      <a:cubicBezTo>
                        <a:pt x="1003935" y="779145"/>
                        <a:pt x="779145" y="1003935"/>
                        <a:pt x="501968" y="1003935"/>
                      </a:cubicBezTo>
                      <a:cubicBezTo>
                        <a:pt x="224790" y="1003935"/>
                        <a:pt x="0" y="779145"/>
                        <a:pt x="0" y="501968"/>
                      </a:cubicBezTo>
                      <a:cubicBezTo>
                        <a:pt x="0" y="224790"/>
                        <a:pt x="224790" y="0"/>
                        <a:pt x="501968" y="0"/>
                      </a:cubicBezTo>
                      <a:cubicBezTo>
                        <a:pt x="779145" y="0"/>
                        <a:pt x="1003935" y="224790"/>
                        <a:pt x="1003935" y="501968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5" name="任意多边形 176"/>
                <p:cNvSpPr/>
                <p:nvPr/>
              </p:nvSpPr>
              <p:spPr>
                <a:xfrm>
                  <a:off x="6095046" y="1067752"/>
                  <a:ext cx="716280" cy="716280"/>
                </a:xfrm>
                <a:custGeom>
                  <a:avLst/>
                  <a:gdLst>
                    <a:gd name="connsiteX0" fmla="*/ 716280 w 716280"/>
                    <a:gd name="connsiteY0" fmla="*/ 358140 h 716280"/>
                    <a:gd name="connsiteX1" fmla="*/ 358140 w 716280"/>
                    <a:gd name="connsiteY1" fmla="*/ 716280 h 716280"/>
                    <a:gd name="connsiteX2" fmla="*/ 0 w 716280"/>
                    <a:gd name="connsiteY2" fmla="*/ 358140 h 716280"/>
                    <a:gd name="connsiteX3" fmla="*/ 358140 w 716280"/>
                    <a:gd name="connsiteY3" fmla="*/ 0 h 716280"/>
                    <a:gd name="connsiteX4" fmla="*/ 716280 w 716280"/>
                    <a:gd name="connsiteY4" fmla="*/ 358140 h 716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6280" h="716280">
                      <a:moveTo>
                        <a:pt x="716280" y="358140"/>
                      </a:moveTo>
                      <a:cubicBezTo>
                        <a:pt x="716280" y="556260"/>
                        <a:pt x="556260" y="716280"/>
                        <a:pt x="358140" y="716280"/>
                      </a:cubicBezTo>
                      <a:cubicBezTo>
                        <a:pt x="160020" y="716280"/>
                        <a:pt x="0" y="556260"/>
                        <a:pt x="0" y="358140"/>
                      </a:cubicBezTo>
                      <a:cubicBezTo>
                        <a:pt x="0" y="160020"/>
                        <a:pt x="160020" y="0"/>
                        <a:pt x="358140" y="0"/>
                      </a:cubicBezTo>
                      <a:cubicBezTo>
                        <a:pt x="556260" y="0"/>
                        <a:pt x="716280" y="160020"/>
                        <a:pt x="716280" y="35814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" name="任意多边形 177"/>
                <p:cNvSpPr/>
                <p:nvPr/>
              </p:nvSpPr>
              <p:spPr>
                <a:xfrm>
                  <a:off x="5825489" y="1122045"/>
                  <a:ext cx="356234" cy="356234"/>
                </a:xfrm>
                <a:custGeom>
                  <a:avLst/>
                  <a:gdLst>
                    <a:gd name="connsiteX0" fmla="*/ 356235 w 356234"/>
                    <a:gd name="connsiteY0" fmla="*/ 178117 h 356234"/>
                    <a:gd name="connsiteX1" fmla="*/ 178117 w 356234"/>
                    <a:gd name="connsiteY1" fmla="*/ 356235 h 356234"/>
                    <a:gd name="connsiteX2" fmla="*/ 0 w 356234"/>
                    <a:gd name="connsiteY2" fmla="*/ 178117 h 356234"/>
                    <a:gd name="connsiteX3" fmla="*/ 178117 w 356234"/>
                    <a:gd name="connsiteY3" fmla="*/ 0 h 356234"/>
                    <a:gd name="connsiteX4" fmla="*/ 356235 w 356234"/>
                    <a:gd name="connsiteY4" fmla="*/ 178117 h 3562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234" h="356234">
                      <a:moveTo>
                        <a:pt x="356235" y="178117"/>
                      </a:moveTo>
                      <a:cubicBezTo>
                        <a:pt x="356235" y="276225"/>
                        <a:pt x="276225" y="356235"/>
                        <a:pt x="178117" y="356235"/>
                      </a:cubicBezTo>
                      <a:cubicBezTo>
                        <a:pt x="80010" y="356235"/>
                        <a:pt x="0" y="276225"/>
                        <a:pt x="0" y="178117"/>
                      </a:cubicBezTo>
                      <a:cubicBezTo>
                        <a:pt x="0" y="80010"/>
                        <a:pt x="80010" y="0"/>
                        <a:pt x="178117" y="0"/>
                      </a:cubicBezTo>
                      <a:cubicBezTo>
                        <a:pt x="277178" y="0"/>
                        <a:pt x="356235" y="80010"/>
                        <a:pt x="356235" y="178117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7" name="任意多边形 178"/>
                <p:cNvSpPr/>
                <p:nvPr/>
              </p:nvSpPr>
              <p:spPr>
                <a:xfrm>
                  <a:off x="6644639" y="1199197"/>
                  <a:ext cx="419100" cy="419099"/>
                </a:xfrm>
                <a:custGeom>
                  <a:avLst/>
                  <a:gdLst>
                    <a:gd name="connsiteX0" fmla="*/ 419100 w 419100"/>
                    <a:gd name="connsiteY0" fmla="*/ 209550 h 419099"/>
                    <a:gd name="connsiteX1" fmla="*/ 209550 w 419100"/>
                    <a:gd name="connsiteY1" fmla="*/ 419100 h 419099"/>
                    <a:gd name="connsiteX2" fmla="*/ 0 w 419100"/>
                    <a:gd name="connsiteY2" fmla="*/ 209550 h 419099"/>
                    <a:gd name="connsiteX3" fmla="*/ 209550 w 419100"/>
                    <a:gd name="connsiteY3" fmla="*/ 0 h 419099"/>
                    <a:gd name="connsiteX4" fmla="*/ 419100 w 419100"/>
                    <a:gd name="connsiteY4" fmla="*/ 209550 h 419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9100" h="419099">
                      <a:moveTo>
                        <a:pt x="419100" y="209550"/>
                      </a:moveTo>
                      <a:cubicBezTo>
                        <a:pt x="419100" y="325755"/>
                        <a:pt x="324803" y="419100"/>
                        <a:pt x="209550" y="419100"/>
                      </a:cubicBezTo>
                      <a:cubicBezTo>
                        <a:pt x="93345" y="419100"/>
                        <a:pt x="0" y="324803"/>
                        <a:pt x="0" y="209550"/>
                      </a:cubicBezTo>
                      <a:cubicBezTo>
                        <a:pt x="0" y="93345"/>
                        <a:pt x="94297" y="0"/>
                        <a:pt x="209550" y="0"/>
                      </a:cubicBezTo>
                      <a:cubicBezTo>
                        <a:pt x="325755" y="0"/>
                        <a:pt x="419100" y="94298"/>
                        <a:pt x="419100" y="20955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8" name="任意多边形 179"/>
                <p:cNvSpPr/>
                <p:nvPr/>
              </p:nvSpPr>
              <p:spPr>
                <a:xfrm>
                  <a:off x="5653087" y="1349692"/>
                  <a:ext cx="499109" cy="499110"/>
                </a:xfrm>
                <a:custGeom>
                  <a:avLst/>
                  <a:gdLst>
                    <a:gd name="connsiteX0" fmla="*/ 499110 w 499109"/>
                    <a:gd name="connsiteY0" fmla="*/ 249555 h 499110"/>
                    <a:gd name="connsiteX1" fmla="*/ 249555 w 499109"/>
                    <a:gd name="connsiteY1" fmla="*/ 499110 h 499110"/>
                    <a:gd name="connsiteX2" fmla="*/ 0 w 499109"/>
                    <a:gd name="connsiteY2" fmla="*/ 249555 h 499110"/>
                    <a:gd name="connsiteX3" fmla="*/ 249555 w 499109"/>
                    <a:gd name="connsiteY3" fmla="*/ 0 h 499110"/>
                    <a:gd name="connsiteX4" fmla="*/ 499110 w 499109"/>
                    <a:gd name="connsiteY4" fmla="*/ 249555 h 499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9109" h="499110">
                      <a:moveTo>
                        <a:pt x="499110" y="249555"/>
                      </a:moveTo>
                      <a:cubicBezTo>
                        <a:pt x="499110" y="387667"/>
                        <a:pt x="387668" y="499110"/>
                        <a:pt x="249555" y="499110"/>
                      </a:cubicBezTo>
                      <a:cubicBezTo>
                        <a:pt x="111443" y="499110"/>
                        <a:pt x="0" y="387667"/>
                        <a:pt x="0" y="249555"/>
                      </a:cubicBezTo>
                      <a:cubicBezTo>
                        <a:pt x="0" y="111442"/>
                        <a:pt x="111443" y="0"/>
                        <a:pt x="249555" y="0"/>
                      </a:cubicBezTo>
                      <a:cubicBezTo>
                        <a:pt x="386715" y="0"/>
                        <a:pt x="499110" y="111442"/>
                        <a:pt x="499110" y="249555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8" name="组合 7"/>
            <p:cNvGrpSpPr/>
            <p:nvPr/>
          </p:nvGrpSpPr>
          <p:grpSpPr>
            <a:xfrm>
              <a:off x="3252047" y="2196916"/>
              <a:ext cx="995191" cy="2508433"/>
              <a:chOff x="3216962" y="264294"/>
              <a:chExt cx="995191" cy="2508433"/>
            </a:xfrm>
          </p:grpSpPr>
          <p:sp>
            <p:nvSpPr>
              <p:cNvPr id="56" name="任意多边形 183"/>
              <p:cNvSpPr/>
              <p:nvPr/>
            </p:nvSpPr>
            <p:spPr>
              <a:xfrm>
                <a:off x="3281110" y="264294"/>
                <a:ext cx="868010" cy="2011450"/>
              </a:xfrm>
              <a:custGeom>
                <a:avLst/>
                <a:gdLst>
                  <a:gd name="connsiteX0" fmla="*/ 526032 w 868010"/>
                  <a:gd name="connsiteY0" fmla="*/ 1999798 h 2011450"/>
                  <a:gd name="connsiteX1" fmla="*/ 838452 w 868010"/>
                  <a:gd name="connsiteY1" fmla="*/ 1649278 h 2011450"/>
                  <a:gd name="connsiteX2" fmla="*/ 768919 w 868010"/>
                  <a:gd name="connsiteY2" fmla="*/ 172903 h 2011450"/>
                  <a:gd name="connsiteX3" fmla="*/ 105979 w 868010"/>
                  <a:gd name="connsiteY3" fmla="*/ 97656 h 2011450"/>
                  <a:gd name="connsiteX4" fmla="*/ 35495 w 868010"/>
                  <a:gd name="connsiteY4" fmla="*/ 1321618 h 2011450"/>
                  <a:gd name="connsiteX5" fmla="*/ 526032 w 868010"/>
                  <a:gd name="connsiteY5" fmla="*/ 1999798 h 201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8010" h="2011450">
                    <a:moveTo>
                      <a:pt x="526032" y="1999798"/>
                    </a:moveTo>
                    <a:cubicBezTo>
                      <a:pt x="643190" y="1975033"/>
                      <a:pt x="826069" y="1932171"/>
                      <a:pt x="838452" y="1649278"/>
                    </a:cubicBezTo>
                    <a:cubicBezTo>
                      <a:pt x="850835" y="1367338"/>
                      <a:pt x="927987" y="352926"/>
                      <a:pt x="768919" y="172903"/>
                    </a:cubicBezTo>
                    <a:cubicBezTo>
                      <a:pt x="609852" y="-8072"/>
                      <a:pt x="305052" y="-69032"/>
                      <a:pt x="105979" y="97656"/>
                    </a:cubicBezTo>
                    <a:cubicBezTo>
                      <a:pt x="-93093" y="263391"/>
                      <a:pt x="52639" y="1125403"/>
                      <a:pt x="35495" y="1321618"/>
                    </a:cubicBezTo>
                    <a:cubicBezTo>
                      <a:pt x="17397" y="1517833"/>
                      <a:pt x="42162" y="2100763"/>
                      <a:pt x="526032" y="19997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 184"/>
              <p:cNvSpPr/>
              <p:nvPr/>
            </p:nvSpPr>
            <p:spPr>
              <a:xfrm>
                <a:off x="3702315" y="1480537"/>
                <a:ext cx="489368" cy="580319"/>
              </a:xfrm>
              <a:custGeom>
                <a:avLst/>
                <a:gdLst>
                  <a:gd name="connsiteX0" fmla="*/ 230556 w 489368"/>
                  <a:gd name="connsiteY0" fmla="*/ 579720 h 580319"/>
                  <a:gd name="connsiteX1" fmla="*/ 462966 w 489368"/>
                  <a:gd name="connsiteY1" fmla="*/ 432083 h 580319"/>
                  <a:gd name="connsiteX2" fmla="*/ 380099 w 489368"/>
                  <a:gd name="connsiteY2" fmla="*/ 32985 h 580319"/>
                  <a:gd name="connsiteX3" fmla="*/ 21006 w 489368"/>
                  <a:gd name="connsiteY3" fmla="*/ 136808 h 580319"/>
                  <a:gd name="connsiteX4" fmla="*/ 230556 w 489368"/>
                  <a:gd name="connsiteY4" fmla="*/ 579720 h 580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9368" h="580319">
                    <a:moveTo>
                      <a:pt x="230556" y="579720"/>
                    </a:moveTo>
                    <a:cubicBezTo>
                      <a:pt x="335331" y="573053"/>
                      <a:pt x="423914" y="542573"/>
                      <a:pt x="462966" y="432083"/>
                    </a:cubicBezTo>
                    <a:cubicBezTo>
                      <a:pt x="502019" y="321593"/>
                      <a:pt x="514401" y="113948"/>
                      <a:pt x="380099" y="32985"/>
                    </a:cubicBezTo>
                    <a:cubicBezTo>
                      <a:pt x="246749" y="-47977"/>
                      <a:pt x="58154" y="32985"/>
                      <a:pt x="21006" y="136808"/>
                    </a:cubicBezTo>
                    <a:cubicBezTo>
                      <a:pt x="-16141" y="241583"/>
                      <a:pt x="-33286" y="596865"/>
                      <a:pt x="230556" y="57972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 185"/>
              <p:cNvSpPr/>
              <p:nvPr/>
            </p:nvSpPr>
            <p:spPr>
              <a:xfrm>
                <a:off x="3653789" y="948689"/>
                <a:ext cx="150495" cy="1824037"/>
              </a:xfrm>
              <a:custGeom>
                <a:avLst/>
                <a:gdLst>
                  <a:gd name="connsiteX0" fmla="*/ 150495 w 150495"/>
                  <a:gd name="connsiteY0" fmla="*/ 1824038 h 1824037"/>
                  <a:gd name="connsiteX1" fmla="*/ 0 w 150495"/>
                  <a:gd name="connsiteY1" fmla="*/ 1824038 h 1824037"/>
                  <a:gd name="connsiteX2" fmla="*/ 51435 w 150495"/>
                  <a:gd name="connsiteY2" fmla="*/ 0 h 1824037"/>
                  <a:gd name="connsiteX3" fmla="*/ 99060 w 150495"/>
                  <a:gd name="connsiteY3" fmla="*/ 0 h 1824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495" h="1824037">
                    <a:moveTo>
                      <a:pt x="150495" y="1824038"/>
                    </a:moveTo>
                    <a:lnTo>
                      <a:pt x="0" y="1824038"/>
                    </a:lnTo>
                    <a:lnTo>
                      <a:pt x="51435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 186"/>
              <p:cNvSpPr/>
              <p:nvPr/>
            </p:nvSpPr>
            <p:spPr>
              <a:xfrm>
                <a:off x="3443804" y="838200"/>
                <a:ext cx="284279" cy="289560"/>
              </a:xfrm>
              <a:custGeom>
                <a:avLst/>
                <a:gdLst>
                  <a:gd name="connsiteX0" fmla="*/ 284280 w 284279"/>
                  <a:gd name="connsiteY0" fmla="*/ 235267 h 289560"/>
                  <a:gd name="connsiteX1" fmla="*/ 64252 w 284279"/>
                  <a:gd name="connsiteY1" fmla="*/ 0 h 289560"/>
                  <a:gd name="connsiteX2" fmla="*/ 435 w 284279"/>
                  <a:gd name="connsiteY2" fmla="*/ 20002 h 289560"/>
                  <a:gd name="connsiteX3" fmla="*/ 281422 w 284279"/>
                  <a:gd name="connsiteY3" fmla="*/ 289560 h 289560"/>
                  <a:gd name="connsiteX4" fmla="*/ 284280 w 284279"/>
                  <a:gd name="connsiteY4" fmla="*/ 235267 h 289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60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 187"/>
              <p:cNvSpPr/>
              <p:nvPr/>
            </p:nvSpPr>
            <p:spPr>
              <a:xfrm>
                <a:off x="3443804" y="1560195"/>
                <a:ext cx="284279" cy="289559"/>
              </a:xfrm>
              <a:custGeom>
                <a:avLst/>
                <a:gdLst>
                  <a:gd name="connsiteX0" fmla="*/ 284280 w 284279"/>
                  <a:gd name="connsiteY0" fmla="*/ 235267 h 289559"/>
                  <a:gd name="connsiteX1" fmla="*/ 64252 w 284279"/>
                  <a:gd name="connsiteY1" fmla="*/ 0 h 289559"/>
                  <a:gd name="connsiteX2" fmla="*/ 435 w 284279"/>
                  <a:gd name="connsiteY2" fmla="*/ 20002 h 289559"/>
                  <a:gd name="connsiteX3" fmla="*/ 281422 w 284279"/>
                  <a:gd name="connsiteY3" fmla="*/ 289560 h 289559"/>
                  <a:gd name="connsiteX4" fmla="*/ 284280 w 284279"/>
                  <a:gd name="connsiteY4" fmla="*/ 235267 h 289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59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 188"/>
              <p:cNvSpPr/>
              <p:nvPr/>
            </p:nvSpPr>
            <p:spPr>
              <a:xfrm>
                <a:off x="3724274" y="1116329"/>
                <a:ext cx="317182" cy="255270"/>
              </a:xfrm>
              <a:custGeom>
                <a:avLst/>
                <a:gdLst>
                  <a:gd name="connsiteX0" fmla="*/ 5715 w 317182"/>
                  <a:gd name="connsiteY0" fmla="*/ 200978 h 255270"/>
                  <a:gd name="connsiteX1" fmla="*/ 257175 w 317182"/>
                  <a:gd name="connsiteY1" fmla="*/ 0 h 255270"/>
                  <a:gd name="connsiteX2" fmla="*/ 317183 w 317182"/>
                  <a:gd name="connsiteY2" fmla="*/ 29528 h 255270"/>
                  <a:gd name="connsiteX3" fmla="*/ 0 w 317182"/>
                  <a:gd name="connsiteY3" fmla="*/ 255270 h 255270"/>
                  <a:gd name="connsiteX4" fmla="*/ 5715 w 317182"/>
                  <a:gd name="connsiteY4" fmla="*/ 200978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7182" h="255270">
                    <a:moveTo>
                      <a:pt x="5715" y="200978"/>
                    </a:moveTo>
                    <a:cubicBezTo>
                      <a:pt x="5715" y="200978"/>
                      <a:pt x="255270" y="248603"/>
                      <a:pt x="257175" y="0"/>
                    </a:cubicBezTo>
                    <a:lnTo>
                      <a:pt x="317183" y="29528"/>
                    </a:lnTo>
                    <a:cubicBezTo>
                      <a:pt x="317183" y="29528"/>
                      <a:pt x="308610" y="252413"/>
                      <a:pt x="0" y="255270"/>
                    </a:cubicBezTo>
                    <a:lnTo>
                      <a:pt x="5715" y="2009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 189"/>
              <p:cNvSpPr/>
              <p:nvPr/>
            </p:nvSpPr>
            <p:spPr>
              <a:xfrm>
                <a:off x="3741419" y="1302067"/>
                <a:ext cx="199239" cy="294322"/>
              </a:xfrm>
              <a:custGeom>
                <a:avLst/>
                <a:gdLst>
                  <a:gd name="connsiteX0" fmla="*/ 0 w 199239"/>
                  <a:gd name="connsiteY0" fmla="*/ 239078 h 294322"/>
                  <a:gd name="connsiteX1" fmla="*/ 155257 w 199239"/>
                  <a:gd name="connsiteY1" fmla="*/ 953 h 294322"/>
                  <a:gd name="connsiteX2" fmla="*/ 199072 w 199239"/>
                  <a:gd name="connsiteY2" fmla="*/ 0 h 294322"/>
                  <a:gd name="connsiteX3" fmla="*/ 952 w 199239"/>
                  <a:gd name="connsiteY3" fmla="*/ 294323 h 294322"/>
                  <a:gd name="connsiteX4" fmla="*/ 0 w 199239"/>
                  <a:gd name="connsiteY4" fmla="*/ 239078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8"/>
                    </a:moveTo>
                    <a:cubicBezTo>
                      <a:pt x="0" y="239078"/>
                      <a:pt x="175260" y="245745"/>
                      <a:pt x="155257" y="953"/>
                    </a:cubicBezTo>
                    <a:lnTo>
                      <a:pt x="199072" y="0"/>
                    </a:lnTo>
                    <a:cubicBezTo>
                      <a:pt x="199072" y="0"/>
                      <a:pt x="212408" y="240983"/>
                      <a:pt x="952" y="294323"/>
                    </a:cubicBezTo>
                    <a:lnTo>
                      <a:pt x="0" y="2390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 190"/>
              <p:cNvSpPr/>
              <p:nvPr/>
            </p:nvSpPr>
            <p:spPr>
              <a:xfrm>
                <a:off x="3741419" y="1663065"/>
                <a:ext cx="199239" cy="294322"/>
              </a:xfrm>
              <a:custGeom>
                <a:avLst/>
                <a:gdLst>
                  <a:gd name="connsiteX0" fmla="*/ 0 w 199239"/>
                  <a:gd name="connsiteY0" fmla="*/ 239077 h 294322"/>
                  <a:gd name="connsiteX1" fmla="*/ 155257 w 199239"/>
                  <a:gd name="connsiteY1" fmla="*/ 952 h 294322"/>
                  <a:gd name="connsiteX2" fmla="*/ 199072 w 199239"/>
                  <a:gd name="connsiteY2" fmla="*/ 0 h 294322"/>
                  <a:gd name="connsiteX3" fmla="*/ 952 w 199239"/>
                  <a:gd name="connsiteY3" fmla="*/ 294322 h 294322"/>
                  <a:gd name="connsiteX4" fmla="*/ 0 w 199239"/>
                  <a:gd name="connsiteY4" fmla="*/ 239077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7"/>
                    </a:moveTo>
                    <a:cubicBezTo>
                      <a:pt x="0" y="239077"/>
                      <a:pt x="175260" y="245745"/>
                      <a:pt x="155257" y="952"/>
                    </a:cubicBezTo>
                    <a:lnTo>
                      <a:pt x="199072" y="0"/>
                    </a:lnTo>
                    <a:cubicBezTo>
                      <a:pt x="199072" y="0"/>
                      <a:pt x="212408" y="240982"/>
                      <a:pt x="952" y="294322"/>
                    </a:cubicBezTo>
                    <a:lnTo>
                      <a:pt x="0" y="23907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 191"/>
              <p:cNvSpPr/>
              <p:nvPr/>
            </p:nvSpPr>
            <p:spPr>
              <a:xfrm>
                <a:off x="3216962" y="326204"/>
                <a:ext cx="488947" cy="660283"/>
              </a:xfrm>
              <a:custGeom>
                <a:avLst/>
                <a:gdLst>
                  <a:gd name="connsiteX0" fmla="*/ 230135 w 488947"/>
                  <a:gd name="connsiteY0" fmla="*/ 659633 h 660283"/>
                  <a:gd name="connsiteX1" fmla="*/ 462545 w 488947"/>
                  <a:gd name="connsiteY1" fmla="*/ 491993 h 660283"/>
                  <a:gd name="connsiteX2" fmla="*/ 379677 w 488947"/>
                  <a:gd name="connsiteY2" fmla="*/ 37650 h 660283"/>
                  <a:gd name="connsiteX3" fmla="*/ 20585 w 488947"/>
                  <a:gd name="connsiteY3" fmla="*/ 155760 h 660283"/>
                  <a:gd name="connsiteX4" fmla="*/ 230135 w 488947"/>
                  <a:gd name="connsiteY4" fmla="*/ 659633 h 660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8947" h="660283">
                    <a:moveTo>
                      <a:pt x="230135" y="659633"/>
                    </a:moveTo>
                    <a:cubicBezTo>
                      <a:pt x="334910" y="652013"/>
                      <a:pt x="423492" y="617723"/>
                      <a:pt x="462545" y="491993"/>
                    </a:cubicBezTo>
                    <a:cubicBezTo>
                      <a:pt x="501597" y="366263"/>
                      <a:pt x="513980" y="130043"/>
                      <a:pt x="379677" y="37650"/>
                    </a:cubicBezTo>
                    <a:cubicBezTo>
                      <a:pt x="246327" y="-54742"/>
                      <a:pt x="57732" y="37650"/>
                      <a:pt x="20585" y="155760"/>
                    </a:cubicBezTo>
                    <a:cubicBezTo>
                      <a:pt x="-15610" y="273870"/>
                      <a:pt x="-33708" y="678683"/>
                      <a:pt x="230135" y="659633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 192"/>
              <p:cNvSpPr/>
              <p:nvPr/>
            </p:nvSpPr>
            <p:spPr>
              <a:xfrm>
                <a:off x="3871574" y="708915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 193"/>
              <p:cNvSpPr/>
              <p:nvPr/>
            </p:nvSpPr>
            <p:spPr>
              <a:xfrm>
                <a:off x="3242924" y="1171830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4118451" y="4450079"/>
              <a:ext cx="707707" cy="256222"/>
              <a:chOff x="4083366" y="2517457"/>
              <a:chExt cx="707707" cy="256222"/>
            </a:xfrm>
          </p:grpSpPr>
          <p:sp>
            <p:nvSpPr>
              <p:cNvPr id="52" name="任意多边形 196"/>
              <p:cNvSpPr/>
              <p:nvPr/>
            </p:nvSpPr>
            <p:spPr>
              <a:xfrm>
                <a:off x="4195762" y="2517457"/>
                <a:ext cx="510540" cy="255270"/>
              </a:xfrm>
              <a:custGeom>
                <a:avLst/>
                <a:gdLst>
                  <a:gd name="connsiteX0" fmla="*/ 255270 w 510540"/>
                  <a:gd name="connsiteY0" fmla="*/ 0 h 255270"/>
                  <a:gd name="connsiteX1" fmla="*/ 0 w 510540"/>
                  <a:gd name="connsiteY1" fmla="*/ 255270 h 255270"/>
                  <a:gd name="connsiteX2" fmla="*/ 510540 w 510540"/>
                  <a:gd name="connsiteY2" fmla="*/ 255270 h 255270"/>
                  <a:gd name="connsiteX3" fmla="*/ 255270 w 510540"/>
                  <a:gd name="connsiteY3" fmla="*/ 0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0540" h="255270">
                    <a:moveTo>
                      <a:pt x="255270" y="0"/>
                    </a:moveTo>
                    <a:cubicBezTo>
                      <a:pt x="114300" y="0"/>
                      <a:pt x="0" y="114300"/>
                      <a:pt x="0" y="255270"/>
                    </a:cubicBezTo>
                    <a:lnTo>
                      <a:pt x="510540" y="255270"/>
                    </a:lnTo>
                    <a:cubicBezTo>
                      <a:pt x="510540" y="114300"/>
                      <a:pt x="396240" y="0"/>
                      <a:pt x="255270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 197"/>
              <p:cNvSpPr/>
              <p:nvPr/>
            </p:nvSpPr>
            <p:spPr>
              <a:xfrm>
                <a:off x="4083366" y="2619375"/>
                <a:ext cx="307657" cy="154305"/>
              </a:xfrm>
              <a:custGeom>
                <a:avLst/>
                <a:gdLst>
                  <a:gd name="connsiteX0" fmla="*/ 154305 w 307657"/>
                  <a:gd name="connsiteY0" fmla="*/ 0 h 154305"/>
                  <a:gd name="connsiteX1" fmla="*/ 0 w 307657"/>
                  <a:gd name="connsiteY1" fmla="*/ 154305 h 154305"/>
                  <a:gd name="connsiteX2" fmla="*/ 307658 w 307657"/>
                  <a:gd name="connsiteY2" fmla="*/ 154305 h 154305"/>
                  <a:gd name="connsiteX3" fmla="*/ 154305 w 307657"/>
                  <a:gd name="connsiteY3" fmla="*/ 0 h 154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7657" h="154305">
                    <a:moveTo>
                      <a:pt x="154305" y="0"/>
                    </a:moveTo>
                    <a:cubicBezTo>
                      <a:pt x="69533" y="0"/>
                      <a:pt x="0" y="68580"/>
                      <a:pt x="0" y="154305"/>
                    </a:cubicBezTo>
                    <a:lnTo>
                      <a:pt x="307658" y="154305"/>
                    </a:lnTo>
                    <a:cubicBezTo>
                      <a:pt x="307658" y="68580"/>
                      <a:pt x="239078" y="0"/>
                      <a:pt x="15430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 198"/>
              <p:cNvSpPr/>
              <p:nvPr/>
            </p:nvSpPr>
            <p:spPr>
              <a:xfrm>
                <a:off x="4277677" y="2664142"/>
                <a:ext cx="217169" cy="108584"/>
              </a:xfrm>
              <a:custGeom>
                <a:avLst/>
                <a:gdLst>
                  <a:gd name="connsiteX0" fmla="*/ 108585 w 217169"/>
                  <a:gd name="connsiteY0" fmla="*/ 0 h 108584"/>
                  <a:gd name="connsiteX1" fmla="*/ 0 w 217169"/>
                  <a:gd name="connsiteY1" fmla="*/ 108585 h 108584"/>
                  <a:gd name="connsiteX2" fmla="*/ 217170 w 217169"/>
                  <a:gd name="connsiteY2" fmla="*/ 108585 h 108584"/>
                  <a:gd name="connsiteX3" fmla="*/ 108585 w 217169"/>
                  <a:gd name="connsiteY3" fmla="*/ 0 h 108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7169" h="108584">
                    <a:moveTo>
                      <a:pt x="108585" y="0"/>
                    </a:moveTo>
                    <a:cubicBezTo>
                      <a:pt x="48577" y="0"/>
                      <a:pt x="0" y="48577"/>
                      <a:pt x="0" y="108585"/>
                    </a:cubicBezTo>
                    <a:lnTo>
                      <a:pt x="217170" y="108585"/>
                    </a:lnTo>
                    <a:cubicBezTo>
                      <a:pt x="217170" y="48577"/>
                      <a:pt x="168592" y="0"/>
                      <a:pt x="10858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 199"/>
              <p:cNvSpPr/>
              <p:nvPr/>
            </p:nvSpPr>
            <p:spPr>
              <a:xfrm>
                <a:off x="4589144" y="2671762"/>
                <a:ext cx="201929" cy="100965"/>
              </a:xfrm>
              <a:custGeom>
                <a:avLst/>
                <a:gdLst>
                  <a:gd name="connsiteX0" fmla="*/ 100965 w 201929"/>
                  <a:gd name="connsiteY0" fmla="*/ 0 h 100965"/>
                  <a:gd name="connsiteX1" fmla="*/ 0 w 201929"/>
                  <a:gd name="connsiteY1" fmla="*/ 100965 h 100965"/>
                  <a:gd name="connsiteX2" fmla="*/ 201930 w 201929"/>
                  <a:gd name="connsiteY2" fmla="*/ 100965 h 100965"/>
                  <a:gd name="connsiteX3" fmla="*/ 100965 w 201929"/>
                  <a:gd name="connsiteY3" fmla="*/ 0 h 100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1929" h="100965">
                    <a:moveTo>
                      <a:pt x="100965" y="0"/>
                    </a:moveTo>
                    <a:cubicBezTo>
                      <a:pt x="45720" y="0"/>
                      <a:pt x="0" y="44768"/>
                      <a:pt x="0" y="100965"/>
                    </a:cubicBezTo>
                    <a:lnTo>
                      <a:pt x="201930" y="100965"/>
                    </a:lnTo>
                    <a:cubicBezTo>
                      <a:pt x="201930" y="45720"/>
                      <a:pt x="157163" y="0"/>
                      <a:pt x="100965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7536022" y="4531994"/>
              <a:ext cx="482917" cy="174307"/>
              <a:chOff x="7500937" y="2599372"/>
              <a:chExt cx="482917" cy="174307"/>
            </a:xfrm>
          </p:grpSpPr>
          <p:sp>
            <p:nvSpPr>
              <p:cNvPr id="48" name="任意多边形 201"/>
              <p:cNvSpPr/>
              <p:nvPr/>
            </p:nvSpPr>
            <p:spPr>
              <a:xfrm>
                <a:off x="7578089" y="2599372"/>
                <a:ext cx="347662" cy="174307"/>
              </a:xfrm>
              <a:custGeom>
                <a:avLst/>
                <a:gdLst>
                  <a:gd name="connsiteX0" fmla="*/ 174308 w 347662"/>
                  <a:gd name="connsiteY0" fmla="*/ 0 h 174307"/>
                  <a:gd name="connsiteX1" fmla="*/ 0 w 347662"/>
                  <a:gd name="connsiteY1" fmla="*/ 174308 h 174307"/>
                  <a:gd name="connsiteX2" fmla="*/ 347662 w 347662"/>
                  <a:gd name="connsiteY2" fmla="*/ 174308 h 174307"/>
                  <a:gd name="connsiteX3" fmla="*/ 174308 w 347662"/>
                  <a:gd name="connsiteY3" fmla="*/ 0 h 17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7662" h="174307">
                    <a:moveTo>
                      <a:pt x="174308" y="0"/>
                    </a:moveTo>
                    <a:cubicBezTo>
                      <a:pt x="78105" y="0"/>
                      <a:pt x="0" y="78105"/>
                      <a:pt x="0" y="174308"/>
                    </a:cubicBezTo>
                    <a:lnTo>
                      <a:pt x="347662" y="174308"/>
                    </a:lnTo>
                    <a:cubicBezTo>
                      <a:pt x="347662" y="77153"/>
                      <a:pt x="269558" y="0"/>
                      <a:pt x="174308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 202"/>
              <p:cNvSpPr/>
              <p:nvPr/>
            </p:nvSpPr>
            <p:spPr>
              <a:xfrm>
                <a:off x="7500937" y="2667952"/>
                <a:ext cx="209550" cy="104775"/>
              </a:xfrm>
              <a:custGeom>
                <a:avLst/>
                <a:gdLst>
                  <a:gd name="connsiteX0" fmla="*/ 104775 w 209550"/>
                  <a:gd name="connsiteY0" fmla="*/ 0 h 104775"/>
                  <a:gd name="connsiteX1" fmla="*/ 0 w 209550"/>
                  <a:gd name="connsiteY1" fmla="*/ 104775 h 104775"/>
                  <a:gd name="connsiteX2" fmla="*/ 209550 w 209550"/>
                  <a:gd name="connsiteY2" fmla="*/ 104775 h 104775"/>
                  <a:gd name="connsiteX3" fmla="*/ 104775 w 209550"/>
                  <a:gd name="connsiteY3" fmla="*/ 0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50" h="104775">
                    <a:moveTo>
                      <a:pt x="104775" y="0"/>
                    </a:moveTo>
                    <a:cubicBezTo>
                      <a:pt x="46672" y="0"/>
                      <a:pt x="0" y="46672"/>
                      <a:pt x="0" y="104775"/>
                    </a:cubicBezTo>
                    <a:lnTo>
                      <a:pt x="209550" y="104775"/>
                    </a:lnTo>
                    <a:cubicBezTo>
                      <a:pt x="209550" y="47625"/>
                      <a:pt x="162877" y="0"/>
                      <a:pt x="10477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 203"/>
              <p:cNvSpPr/>
              <p:nvPr/>
            </p:nvSpPr>
            <p:spPr>
              <a:xfrm>
                <a:off x="7633334" y="2699384"/>
                <a:ext cx="147637" cy="74295"/>
              </a:xfrm>
              <a:custGeom>
                <a:avLst/>
                <a:gdLst>
                  <a:gd name="connsiteX0" fmla="*/ 74295 w 147637"/>
                  <a:gd name="connsiteY0" fmla="*/ 0 h 74295"/>
                  <a:gd name="connsiteX1" fmla="*/ 0 w 147637"/>
                  <a:gd name="connsiteY1" fmla="*/ 74295 h 74295"/>
                  <a:gd name="connsiteX2" fmla="*/ 147638 w 147637"/>
                  <a:gd name="connsiteY2" fmla="*/ 74295 h 74295"/>
                  <a:gd name="connsiteX3" fmla="*/ 74295 w 147637"/>
                  <a:gd name="connsiteY3" fmla="*/ 0 h 74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7637" h="74295">
                    <a:moveTo>
                      <a:pt x="74295" y="0"/>
                    </a:moveTo>
                    <a:cubicBezTo>
                      <a:pt x="33338" y="0"/>
                      <a:pt x="0" y="33338"/>
                      <a:pt x="0" y="74295"/>
                    </a:cubicBezTo>
                    <a:lnTo>
                      <a:pt x="147638" y="74295"/>
                    </a:lnTo>
                    <a:cubicBezTo>
                      <a:pt x="147638" y="32385"/>
                      <a:pt x="115252" y="0"/>
                      <a:pt x="7429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 204"/>
              <p:cNvSpPr/>
              <p:nvPr/>
            </p:nvSpPr>
            <p:spPr>
              <a:xfrm>
                <a:off x="7846694" y="2704147"/>
                <a:ext cx="137160" cy="68580"/>
              </a:xfrm>
              <a:custGeom>
                <a:avLst/>
                <a:gdLst>
                  <a:gd name="connsiteX0" fmla="*/ 68580 w 137160"/>
                  <a:gd name="connsiteY0" fmla="*/ 0 h 68580"/>
                  <a:gd name="connsiteX1" fmla="*/ 0 w 137160"/>
                  <a:gd name="connsiteY1" fmla="*/ 68580 h 68580"/>
                  <a:gd name="connsiteX2" fmla="*/ 137160 w 137160"/>
                  <a:gd name="connsiteY2" fmla="*/ 68580 h 68580"/>
                  <a:gd name="connsiteX3" fmla="*/ 68580 w 137160"/>
                  <a:gd name="connsiteY3" fmla="*/ 0 h 68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160" h="68580">
                    <a:moveTo>
                      <a:pt x="68580" y="0"/>
                    </a:moveTo>
                    <a:cubicBezTo>
                      <a:pt x="30480" y="0"/>
                      <a:pt x="0" y="30480"/>
                      <a:pt x="0" y="68580"/>
                    </a:cubicBezTo>
                    <a:lnTo>
                      <a:pt x="137160" y="68580"/>
                    </a:lnTo>
                    <a:cubicBezTo>
                      <a:pt x="137160" y="30480"/>
                      <a:pt x="105728" y="0"/>
                      <a:pt x="6858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4761389" y="3611879"/>
              <a:ext cx="647700" cy="1093470"/>
              <a:chOff x="4726304" y="1679257"/>
              <a:chExt cx="647700" cy="1093470"/>
            </a:xfrm>
          </p:grpSpPr>
          <p:sp>
            <p:nvSpPr>
              <p:cNvPr id="44" name="任意多边形 207"/>
              <p:cNvSpPr/>
              <p:nvPr/>
            </p:nvSpPr>
            <p:spPr>
              <a:xfrm>
                <a:off x="5007291" y="2360295"/>
                <a:ext cx="85725" cy="412432"/>
              </a:xfrm>
              <a:custGeom>
                <a:avLst/>
                <a:gdLst>
                  <a:gd name="connsiteX0" fmla="*/ 0 w 85725"/>
                  <a:gd name="connsiteY0" fmla="*/ 412433 h 412432"/>
                  <a:gd name="connsiteX1" fmla="*/ 85725 w 85725"/>
                  <a:gd name="connsiteY1" fmla="*/ 412433 h 412432"/>
                  <a:gd name="connsiteX2" fmla="*/ 75248 w 85725"/>
                  <a:gd name="connsiteY2" fmla="*/ 0 h 412432"/>
                  <a:gd name="connsiteX3" fmla="*/ 15240 w 85725"/>
                  <a:gd name="connsiteY3" fmla="*/ 0 h 412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5" h="412432">
                    <a:moveTo>
                      <a:pt x="0" y="412433"/>
                    </a:moveTo>
                    <a:lnTo>
                      <a:pt x="85725" y="412433"/>
                    </a:lnTo>
                    <a:lnTo>
                      <a:pt x="75248" y="0"/>
                    </a:lnTo>
                    <a:lnTo>
                      <a:pt x="1524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 208"/>
              <p:cNvSpPr/>
              <p:nvPr/>
            </p:nvSpPr>
            <p:spPr>
              <a:xfrm>
                <a:off x="5028246" y="2368867"/>
                <a:ext cx="172031" cy="227647"/>
              </a:xfrm>
              <a:custGeom>
                <a:avLst/>
                <a:gdLst>
                  <a:gd name="connsiteX0" fmla="*/ 953 w 172031"/>
                  <a:gd name="connsiteY0" fmla="*/ 180023 h 227647"/>
                  <a:gd name="connsiteX1" fmla="*/ 125730 w 172031"/>
                  <a:gd name="connsiteY1" fmla="*/ 0 h 227647"/>
                  <a:gd name="connsiteX2" fmla="*/ 170497 w 172031"/>
                  <a:gd name="connsiteY2" fmla="*/ 7620 h 227647"/>
                  <a:gd name="connsiteX3" fmla="*/ 0 w 172031"/>
                  <a:gd name="connsiteY3" fmla="*/ 227648 h 227647"/>
                  <a:gd name="connsiteX4" fmla="*/ 953 w 172031"/>
                  <a:gd name="connsiteY4" fmla="*/ 180023 h 227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2031" h="227647">
                    <a:moveTo>
                      <a:pt x="953" y="180023"/>
                    </a:moveTo>
                    <a:cubicBezTo>
                      <a:pt x="953" y="180023"/>
                      <a:pt x="172403" y="161925"/>
                      <a:pt x="125730" y="0"/>
                    </a:cubicBezTo>
                    <a:lnTo>
                      <a:pt x="170497" y="7620"/>
                    </a:lnTo>
                    <a:cubicBezTo>
                      <a:pt x="170497" y="7620"/>
                      <a:pt x="200025" y="164783"/>
                      <a:pt x="0" y="227648"/>
                    </a:cubicBezTo>
                    <a:lnTo>
                      <a:pt x="953" y="180023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 209"/>
              <p:cNvSpPr/>
              <p:nvPr/>
            </p:nvSpPr>
            <p:spPr>
              <a:xfrm>
                <a:off x="4907258" y="2329815"/>
                <a:ext cx="142896" cy="184784"/>
              </a:xfrm>
              <a:custGeom>
                <a:avLst/>
                <a:gdLst>
                  <a:gd name="connsiteX0" fmla="*/ 36216 w 142896"/>
                  <a:gd name="connsiteY0" fmla="*/ 12382 h 184784"/>
                  <a:gd name="connsiteX1" fmla="*/ 142896 w 142896"/>
                  <a:gd name="connsiteY1" fmla="*/ 152400 h 184784"/>
                  <a:gd name="connsiteX2" fmla="*/ 125751 w 142896"/>
                  <a:gd name="connsiteY2" fmla="*/ 184785 h 184784"/>
                  <a:gd name="connsiteX3" fmla="*/ 21 w 142896"/>
                  <a:gd name="connsiteY3" fmla="*/ 0 h 184784"/>
                  <a:gd name="connsiteX4" fmla="*/ 36216 w 142896"/>
                  <a:gd name="connsiteY4" fmla="*/ 12382 h 184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896" h="184784">
                    <a:moveTo>
                      <a:pt x="36216" y="12382"/>
                    </a:moveTo>
                    <a:cubicBezTo>
                      <a:pt x="36216" y="12382"/>
                      <a:pt x="7641" y="148590"/>
                      <a:pt x="142896" y="152400"/>
                    </a:cubicBezTo>
                    <a:lnTo>
                      <a:pt x="125751" y="184785"/>
                    </a:lnTo>
                    <a:cubicBezTo>
                      <a:pt x="125751" y="184785"/>
                      <a:pt x="-1884" y="168592"/>
                      <a:pt x="21" y="0"/>
                    </a:cubicBezTo>
                    <a:lnTo>
                      <a:pt x="36216" y="12382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 210"/>
              <p:cNvSpPr/>
              <p:nvPr/>
            </p:nvSpPr>
            <p:spPr>
              <a:xfrm>
                <a:off x="4726304" y="1679257"/>
                <a:ext cx="647700" cy="770572"/>
              </a:xfrm>
              <a:custGeom>
                <a:avLst/>
                <a:gdLst>
                  <a:gd name="connsiteX0" fmla="*/ 647700 w 647700"/>
                  <a:gd name="connsiteY0" fmla="*/ 425767 h 770572"/>
                  <a:gd name="connsiteX1" fmla="*/ 323850 w 647700"/>
                  <a:gd name="connsiteY1" fmla="*/ 770572 h 770572"/>
                  <a:gd name="connsiteX2" fmla="*/ 0 w 647700"/>
                  <a:gd name="connsiteY2" fmla="*/ 425767 h 770572"/>
                  <a:gd name="connsiteX3" fmla="*/ 323850 w 647700"/>
                  <a:gd name="connsiteY3" fmla="*/ 0 h 770572"/>
                  <a:gd name="connsiteX4" fmla="*/ 647700 w 647700"/>
                  <a:gd name="connsiteY4" fmla="*/ 425767 h 770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7700" h="770572">
                    <a:moveTo>
                      <a:pt x="647700" y="425767"/>
                    </a:moveTo>
                    <a:cubicBezTo>
                      <a:pt x="647700" y="661035"/>
                      <a:pt x="502920" y="770572"/>
                      <a:pt x="323850" y="770572"/>
                    </a:cubicBezTo>
                    <a:cubicBezTo>
                      <a:pt x="144780" y="770572"/>
                      <a:pt x="0" y="661988"/>
                      <a:pt x="0" y="425767"/>
                    </a:cubicBezTo>
                    <a:cubicBezTo>
                      <a:pt x="0" y="190500"/>
                      <a:pt x="144780" y="0"/>
                      <a:pt x="323850" y="0"/>
                    </a:cubicBezTo>
                    <a:cubicBezTo>
                      <a:pt x="502920" y="0"/>
                      <a:pt x="647700" y="190500"/>
                      <a:pt x="647700" y="425767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" name="组合 11"/>
            <p:cNvGrpSpPr/>
            <p:nvPr/>
          </p:nvGrpSpPr>
          <p:grpSpPr>
            <a:xfrm>
              <a:off x="6647339" y="4319587"/>
              <a:ext cx="757237" cy="386715"/>
              <a:chOff x="6612254" y="2386965"/>
              <a:chExt cx="757237" cy="386715"/>
            </a:xfrm>
          </p:grpSpPr>
          <p:sp>
            <p:nvSpPr>
              <p:cNvPr id="40" name="任意多边形 213"/>
              <p:cNvSpPr/>
              <p:nvPr/>
            </p:nvSpPr>
            <p:spPr>
              <a:xfrm>
                <a:off x="6612254" y="2611754"/>
                <a:ext cx="181927" cy="160972"/>
              </a:xfrm>
              <a:custGeom>
                <a:avLst/>
                <a:gdLst>
                  <a:gd name="connsiteX0" fmla="*/ 181927 w 181927"/>
                  <a:gd name="connsiteY0" fmla="*/ 18098 h 160972"/>
                  <a:gd name="connsiteX1" fmla="*/ 178117 w 181927"/>
                  <a:gd name="connsiteY1" fmla="*/ 4763 h 160972"/>
                  <a:gd name="connsiteX2" fmla="*/ 147638 w 181927"/>
                  <a:gd name="connsiteY2" fmla="*/ 0 h 160972"/>
                  <a:gd name="connsiteX3" fmla="*/ 0 w 181927"/>
                  <a:gd name="connsiteY3" fmla="*/ 160973 h 160972"/>
                  <a:gd name="connsiteX4" fmla="*/ 87630 w 181927"/>
                  <a:gd name="connsiteY4" fmla="*/ 160973 h 160972"/>
                  <a:gd name="connsiteX5" fmla="*/ 181927 w 181927"/>
                  <a:gd name="connsiteY5" fmla="*/ 18098 h 160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1927" h="160972">
                    <a:moveTo>
                      <a:pt x="181927" y="18098"/>
                    </a:moveTo>
                    <a:cubicBezTo>
                      <a:pt x="180975" y="14288"/>
                      <a:pt x="179070" y="9525"/>
                      <a:pt x="178117" y="4763"/>
                    </a:cubicBezTo>
                    <a:cubicBezTo>
                      <a:pt x="168592" y="1905"/>
                      <a:pt x="158115" y="0"/>
                      <a:pt x="147638" y="0"/>
                    </a:cubicBezTo>
                    <a:cubicBezTo>
                      <a:pt x="79057" y="0"/>
                      <a:pt x="20002" y="67627"/>
                      <a:pt x="0" y="160973"/>
                    </a:cubicBezTo>
                    <a:lnTo>
                      <a:pt x="87630" y="160973"/>
                    </a:lnTo>
                    <a:cubicBezTo>
                      <a:pt x="112395" y="103823"/>
                      <a:pt x="144780" y="55245"/>
                      <a:pt x="181927" y="180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 214"/>
              <p:cNvSpPr/>
              <p:nvPr/>
            </p:nvSpPr>
            <p:spPr>
              <a:xfrm>
                <a:off x="6781799" y="2386965"/>
                <a:ext cx="313372" cy="340994"/>
              </a:xfrm>
              <a:custGeom>
                <a:avLst/>
                <a:gdLst>
                  <a:gd name="connsiteX0" fmla="*/ 170497 w 313372"/>
                  <a:gd name="connsiteY0" fmla="*/ 262890 h 340994"/>
                  <a:gd name="connsiteX1" fmla="*/ 313372 w 313372"/>
                  <a:gd name="connsiteY1" fmla="*/ 131445 h 340994"/>
                  <a:gd name="connsiteX2" fmla="*/ 166688 w 313372"/>
                  <a:gd name="connsiteY2" fmla="*/ 0 h 340994"/>
                  <a:gd name="connsiteX3" fmla="*/ 0 w 313372"/>
                  <a:gd name="connsiteY3" fmla="*/ 250507 h 340994"/>
                  <a:gd name="connsiteX4" fmla="*/ 9525 w 313372"/>
                  <a:gd name="connsiteY4" fmla="*/ 327660 h 340994"/>
                  <a:gd name="connsiteX5" fmla="*/ 13335 w 313372"/>
                  <a:gd name="connsiteY5" fmla="*/ 340995 h 340994"/>
                  <a:gd name="connsiteX6" fmla="*/ 170497 w 313372"/>
                  <a:gd name="connsiteY6" fmla="*/ 262890 h 340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3372" h="340994">
                    <a:moveTo>
                      <a:pt x="170497" y="262890"/>
                    </a:moveTo>
                    <a:cubicBezTo>
                      <a:pt x="204788" y="195263"/>
                      <a:pt x="255270" y="147638"/>
                      <a:pt x="313372" y="131445"/>
                    </a:cubicBezTo>
                    <a:cubicBezTo>
                      <a:pt x="284797" y="53340"/>
                      <a:pt x="230505" y="0"/>
                      <a:pt x="166688" y="0"/>
                    </a:cubicBezTo>
                    <a:cubicBezTo>
                      <a:pt x="74295" y="0"/>
                      <a:pt x="0" y="112395"/>
                      <a:pt x="0" y="250507"/>
                    </a:cubicBezTo>
                    <a:cubicBezTo>
                      <a:pt x="0" y="279082"/>
                      <a:pt x="2857" y="304800"/>
                      <a:pt x="9525" y="327660"/>
                    </a:cubicBezTo>
                    <a:cubicBezTo>
                      <a:pt x="10478" y="332422"/>
                      <a:pt x="12382" y="336232"/>
                      <a:pt x="13335" y="340995"/>
                    </a:cubicBezTo>
                    <a:cubicBezTo>
                      <a:pt x="58103" y="295275"/>
                      <a:pt x="112395" y="267652"/>
                      <a:pt x="170497" y="262890"/>
                    </a:cubicBezTo>
                    <a:close/>
                  </a:path>
                </a:pathLst>
              </a:custGeom>
              <a:solidFill>
                <a:srgbClr val="3BA24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 215"/>
              <p:cNvSpPr/>
              <p:nvPr/>
            </p:nvSpPr>
            <p:spPr>
              <a:xfrm>
                <a:off x="6952296" y="2413634"/>
                <a:ext cx="417195" cy="359092"/>
              </a:xfrm>
              <a:custGeom>
                <a:avLst/>
                <a:gdLst>
                  <a:gd name="connsiteX0" fmla="*/ 0 w 417195"/>
                  <a:gd name="connsiteY0" fmla="*/ 138113 h 359092"/>
                  <a:gd name="connsiteX1" fmla="*/ 18097 w 417195"/>
                  <a:gd name="connsiteY1" fmla="*/ 137160 h 359092"/>
                  <a:gd name="connsiteX2" fmla="*/ 287655 w 417195"/>
                  <a:gd name="connsiteY2" fmla="*/ 359093 h 359092"/>
                  <a:gd name="connsiteX3" fmla="*/ 417195 w 417195"/>
                  <a:gd name="connsiteY3" fmla="*/ 359093 h 359092"/>
                  <a:gd name="connsiteX4" fmla="*/ 417195 w 417195"/>
                  <a:gd name="connsiteY4" fmla="*/ 350520 h 359092"/>
                  <a:gd name="connsiteX5" fmla="*/ 184785 w 417195"/>
                  <a:gd name="connsiteY5" fmla="*/ 0 h 359092"/>
                  <a:gd name="connsiteX6" fmla="*/ 142875 w 417195"/>
                  <a:gd name="connsiteY6" fmla="*/ 5715 h 359092"/>
                  <a:gd name="connsiteX7" fmla="*/ 0 w 417195"/>
                  <a:gd name="connsiteY7" fmla="*/ 138113 h 359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195" h="359092">
                    <a:moveTo>
                      <a:pt x="0" y="138113"/>
                    </a:moveTo>
                    <a:cubicBezTo>
                      <a:pt x="5715" y="137160"/>
                      <a:pt x="11430" y="137160"/>
                      <a:pt x="18097" y="137160"/>
                    </a:cubicBezTo>
                    <a:cubicBezTo>
                      <a:pt x="131445" y="137160"/>
                      <a:pt x="230505" y="225743"/>
                      <a:pt x="287655" y="359093"/>
                    </a:cubicBezTo>
                    <a:lnTo>
                      <a:pt x="417195" y="359093"/>
                    </a:lnTo>
                    <a:cubicBezTo>
                      <a:pt x="417195" y="356235"/>
                      <a:pt x="417195" y="353378"/>
                      <a:pt x="417195" y="350520"/>
                    </a:cubicBezTo>
                    <a:cubicBezTo>
                      <a:pt x="417195" y="157163"/>
                      <a:pt x="313372" y="0"/>
                      <a:pt x="184785" y="0"/>
                    </a:cubicBezTo>
                    <a:cubicBezTo>
                      <a:pt x="170497" y="0"/>
                      <a:pt x="156210" y="1905"/>
                      <a:pt x="142875" y="5715"/>
                    </a:cubicBezTo>
                    <a:cubicBezTo>
                      <a:pt x="84772" y="22860"/>
                      <a:pt x="34290" y="70485"/>
                      <a:pt x="0" y="138113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 216"/>
              <p:cNvSpPr/>
              <p:nvPr/>
            </p:nvSpPr>
            <p:spPr>
              <a:xfrm>
                <a:off x="6699884" y="2550795"/>
                <a:ext cx="540067" cy="222885"/>
              </a:xfrm>
              <a:custGeom>
                <a:avLst/>
                <a:gdLst>
                  <a:gd name="connsiteX0" fmla="*/ 270510 w 540067"/>
                  <a:gd name="connsiteY0" fmla="*/ 0 h 222885"/>
                  <a:gd name="connsiteX1" fmla="*/ 252413 w 540067"/>
                  <a:gd name="connsiteY1" fmla="*/ 952 h 222885"/>
                  <a:gd name="connsiteX2" fmla="*/ 94297 w 540067"/>
                  <a:gd name="connsiteY2" fmla="*/ 79058 h 222885"/>
                  <a:gd name="connsiteX3" fmla="*/ 0 w 540067"/>
                  <a:gd name="connsiteY3" fmla="*/ 222885 h 222885"/>
                  <a:gd name="connsiteX4" fmla="*/ 540068 w 540067"/>
                  <a:gd name="connsiteY4" fmla="*/ 222885 h 222885"/>
                  <a:gd name="connsiteX5" fmla="*/ 270510 w 540067"/>
                  <a:gd name="connsiteY5" fmla="*/ 0 h 222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0067" h="222885">
                    <a:moveTo>
                      <a:pt x="270510" y="0"/>
                    </a:moveTo>
                    <a:cubicBezTo>
                      <a:pt x="264795" y="0"/>
                      <a:pt x="258128" y="0"/>
                      <a:pt x="252413" y="952"/>
                    </a:cubicBezTo>
                    <a:cubicBezTo>
                      <a:pt x="194310" y="5715"/>
                      <a:pt x="140970" y="34290"/>
                      <a:pt x="94297" y="79058"/>
                    </a:cubicBezTo>
                    <a:cubicBezTo>
                      <a:pt x="56197" y="116205"/>
                      <a:pt x="24765" y="164783"/>
                      <a:pt x="0" y="222885"/>
                    </a:cubicBezTo>
                    <a:lnTo>
                      <a:pt x="540068" y="222885"/>
                    </a:lnTo>
                    <a:cubicBezTo>
                      <a:pt x="482918" y="88583"/>
                      <a:pt x="383858" y="0"/>
                      <a:pt x="27051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8914289" y="4138612"/>
              <a:ext cx="578168" cy="567690"/>
              <a:chOff x="8879204" y="2205990"/>
              <a:chExt cx="578168" cy="567690"/>
            </a:xfrm>
          </p:grpSpPr>
          <p:grpSp>
            <p:nvGrpSpPr>
              <p:cNvPr id="28" name="组合 27"/>
              <p:cNvGrpSpPr/>
              <p:nvPr/>
            </p:nvGrpSpPr>
            <p:grpSpPr>
              <a:xfrm>
                <a:off x="8879204" y="2205990"/>
                <a:ext cx="342900" cy="567690"/>
                <a:chOff x="8879204" y="2205990"/>
                <a:chExt cx="342900" cy="567690"/>
              </a:xfrm>
            </p:grpSpPr>
            <p:sp>
              <p:nvSpPr>
                <p:cNvPr id="34" name="任意多边形 220"/>
                <p:cNvSpPr/>
                <p:nvPr/>
              </p:nvSpPr>
              <p:spPr>
                <a:xfrm>
                  <a:off x="9023984" y="2238375"/>
                  <a:ext cx="60007" cy="535305"/>
                </a:xfrm>
                <a:custGeom>
                  <a:avLst/>
                  <a:gdLst>
                    <a:gd name="connsiteX0" fmla="*/ 60007 w 60007"/>
                    <a:gd name="connsiteY0" fmla="*/ 535305 h 535305"/>
                    <a:gd name="connsiteX1" fmla="*/ 0 w 60007"/>
                    <a:gd name="connsiteY1" fmla="*/ 535305 h 535305"/>
                    <a:gd name="connsiteX2" fmla="*/ 20955 w 60007"/>
                    <a:gd name="connsiteY2" fmla="*/ 0 h 535305"/>
                    <a:gd name="connsiteX3" fmla="*/ 39052 w 60007"/>
                    <a:gd name="connsiteY3" fmla="*/ 0 h 535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007" h="535305">
                      <a:moveTo>
                        <a:pt x="60007" y="535305"/>
                      </a:moveTo>
                      <a:lnTo>
                        <a:pt x="0" y="535305"/>
                      </a:lnTo>
                      <a:lnTo>
                        <a:pt x="20955" y="0"/>
                      </a:lnTo>
                      <a:lnTo>
                        <a:pt x="39052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35" name="组合 34"/>
                <p:cNvGrpSpPr/>
                <p:nvPr/>
              </p:nvGrpSpPr>
              <p:grpSpPr>
                <a:xfrm>
                  <a:off x="8879204" y="2205990"/>
                  <a:ext cx="342900" cy="567690"/>
                  <a:chOff x="8879204" y="2205990"/>
                  <a:chExt cx="342900" cy="567690"/>
                </a:xfrm>
              </p:grpSpPr>
              <p:sp>
                <p:nvSpPr>
                  <p:cNvPr id="36" name="任意多边形 222"/>
                  <p:cNvSpPr/>
                  <p:nvPr/>
                </p:nvSpPr>
                <p:spPr>
                  <a:xfrm>
                    <a:off x="8879204" y="2546984"/>
                    <a:ext cx="342900" cy="226695"/>
                  </a:xfrm>
                  <a:custGeom>
                    <a:avLst/>
                    <a:gdLst>
                      <a:gd name="connsiteX0" fmla="*/ 170497 w 342900"/>
                      <a:gd name="connsiteY0" fmla="*/ 0 h 226695"/>
                      <a:gd name="connsiteX1" fmla="*/ 0 w 342900"/>
                      <a:gd name="connsiteY1" fmla="*/ 226695 h 226695"/>
                      <a:gd name="connsiteX2" fmla="*/ 171450 w 342900"/>
                      <a:gd name="connsiteY2" fmla="*/ 226695 h 226695"/>
                      <a:gd name="connsiteX3" fmla="*/ 342900 w 342900"/>
                      <a:gd name="connsiteY3" fmla="*/ 226695 h 2266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42900" h="226695">
                        <a:moveTo>
                          <a:pt x="170497" y="0"/>
                        </a:moveTo>
                        <a:lnTo>
                          <a:pt x="0" y="226695"/>
                        </a:lnTo>
                        <a:lnTo>
                          <a:pt x="171450" y="226695"/>
                        </a:lnTo>
                        <a:lnTo>
                          <a:pt x="342900" y="226695"/>
                        </a:lnTo>
                        <a:close/>
                      </a:path>
                    </a:pathLst>
                  </a:custGeom>
                  <a:solidFill>
                    <a:srgbClr val="006738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7" name="任意多边形 223"/>
                  <p:cNvSpPr/>
                  <p:nvPr/>
                </p:nvSpPr>
                <p:spPr>
                  <a:xfrm>
                    <a:off x="8893492" y="2415540"/>
                    <a:ext cx="313372" cy="191452"/>
                  </a:xfrm>
                  <a:custGeom>
                    <a:avLst/>
                    <a:gdLst>
                      <a:gd name="connsiteX0" fmla="*/ 155257 w 313372"/>
                      <a:gd name="connsiteY0" fmla="*/ 0 h 191452"/>
                      <a:gd name="connsiteX1" fmla="*/ 0 w 313372"/>
                      <a:gd name="connsiteY1" fmla="*/ 191452 h 191452"/>
                      <a:gd name="connsiteX2" fmla="*/ 156210 w 313372"/>
                      <a:gd name="connsiteY2" fmla="*/ 191452 h 191452"/>
                      <a:gd name="connsiteX3" fmla="*/ 313372 w 313372"/>
                      <a:gd name="connsiteY3" fmla="*/ 191452 h 1914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13372" h="191452">
                        <a:moveTo>
                          <a:pt x="155257" y="0"/>
                        </a:moveTo>
                        <a:lnTo>
                          <a:pt x="0" y="191452"/>
                        </a:lnTo>
                        <a:lnTo>
                          <a:pt x="156210" y="191452"/>
                        </a:lnTo>
                        <a:lnTo>
                          <a:pt x="313372" y="191452"/>
                        </a:lnTo>
                        <a:close/>
                      </a:path>
                    </a:pathLst>
                  </a:custGeom>
                  <a:solidFill>
                    <a:srgbClr val="029344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8" name="任意多边形 224"/>
                  <p:cNvSpPr/>
                  <p:nvPr/>
                </p:nvSpPr>
                <p:spPr>
                  <a:xfrm>
                    <a:off x="8904922" y="2303145"/>
                    <a:ext cx="288607" cy="163829"/>
                  </a:xfrm>
                  <a:custGeom>
                    <a:avLst/>
                    <a:gdLst>
                      <a:gd name="connsiteX0" fmla="*/ 143827 w 288607"/>
                      <a:gd name="connsiteY0" fmla="*/ 0 h 163829"/>
                      <a:gd name="connsiteX1" fmla="*/ 0 w 288607"/>
                      <a:gd name="connsiteY1" fmla="*/ 163830 h 163829"/>
                      <a:gd name="connsiteX2" fmla="*/ 144780 w 288607"/>
                      <a:gd name="connsiteY2" fmla="*/ 163830 h 163829"/>
                      <a:gd name="connsiteX3" fmla="*/ 288607 w 288607"/>
                      <a:gd name="connsiteY3" fmla="*/ 163830 h 1638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88607" h="163829">
                        <a:moveTo>
                          <a:pt x="143827" y="0"/>
                        </a:moveTo>
                        <a:lnTo>
                          <a:pt x="0" y="163830"/>
                        </a:lnTo>
                        <a:lnTo>
                          <a:pt x="144780" y="163830"/>
                        </a:lnTo>
                        <a:lnTo>
                          <a:pt x="288607" y="163830"/>
                        </a:lnTo>
                        <a:close/>
                      </a:path>
                    </a:pathLst>
                  </a:custGeom>
                  <a:solidFill>
                    <a:srgbClr val="6EB13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9" name="任意多边形 225"/>
                  <p:cNvSpPr/>
                  <p:nvPr/>
                </p:nvSpPr>
                <p:spPr>
                  <a:xfrm>
                    <a:off x="8915399" y="2205990"/>
                    <a:ext cx="266700" cy="140969"/>
                  </a:xfrm>
                  <a:custGeom>
                    <a:avLst/>
                    <a:gdLst>
                      <a:gd name="connsiteX0" fmla="*/ 132398 w 266700"/>
                      <a:gd name="connsiteY0" fmla="*/ 0 h 140969"/>
                      <a:gd name="connsiteX1" fmla="*/ 0 w 266700"/>
                      <a:gd name="connsiteY1" fmla="*/ 140970 h 140969"/>
                      <a:gd name="connsiteX2" fmla="*/ 133350 w 266700"/>
                      <a:gd name="connsiteY2" fmla="*/ 140970 h 140969"/>
                      <a:gd name="connsiteX3" fmla="*/ 266700 w 266700"/>
                      <a:gd name="connsiteY3" fmla="*/ 140970 h 1409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66700" h="140969">
                        <a:moveTo>
                          <a:pt x="132398" y="0"/>
                        </a:moveTo>
                        <a:lnTo>
                          <a:pt x="0" y="140970"/>
                        </a:lnTo>
                        <a:lnTo>
                          <a:pt x="133350" y="140970"/>
                        </a:lnTo>
                        <a:lnTo>
                          <a:pt x="266700" y="140970"/>
                        </a:lnTo>
                        <a:close/>
                      </a:path>
                    </a:pathLst>
                  </a:custGeom>
                  <a:solidFill>
                    <a:srgbClr val="92C33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29" name="组合 28"/>
              <p:cNvGrpSpPr/>
              <p:nvPr/>
            </p:nvGrpSpPr>
            <p:grpSpPr>
              <a:xfrm>
                <a:off x="9019222" y="2615565"/>
                <a:ext cx="438150" cy="158115"/>
                <a:chOff x="9019222" y="2615565"/>
                <a:chExt cx="438150" cy="158115"/>
              </a:xfrm>
            </p:grpSpPr>
            <p:sp>
              <p:nvSpPr>
                <p:cNvPr id="30" name="任意多边形 228"/>
                <p:cNvSpPr/>
                <p:nvPr/>
              </p:nvSpPr>
              <p:spPr>
                <a:xfrm>
                  <a:off x="9088754" y="2615565"/>
                  <a:ext cx="317182" cy="158115"/>
                </a:xfrm>
                <a:custGeom>
                  <a:avLst/>
                  <a:gdLst>
                    <a:gd name="connsiteX0" fmla="*/ 158115 w 317182"/>
                    <a:gd name="connsiteY0" fmla="*/ 0 h 158115"/>
                    <a:gd name="connsiteX1" fmla="*/ 0 w 317182"/>
                    <a:gd name="connsiteY1" fmla="*/ 158115 h 158115"/>
                    <a:gd name="connsiteX2" fmla="*/ 317182 w 317182"/>
                    <a:gd name="connsiteY2" fmla="*/ 158115 h 158115"/>
                    <a:gd name="connsiteX3" fmla="*/ 158115 w 317182"/>
                    <a:gd name="connsiteY3" fmla="*/ 0 h 1581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7182" h="158115">
                      <a:moveTo>
                        <a:pt x="158115" y="0"/>
                      </a:moveTo>
                      <a:cubicBezTo>
                        <a:pt x="70485" y="0"/>
                        <a:pt x="0" y="70485"/>
                        <a:pt x="0" y="158115"/>
                      </a:cubicBezTo>
                      <a:lnTo>
                        <a:pt x="317182" y="158115"/>
                      </a:lnTo>
                      <a:cubicBezTo>
                        <a:pt x="317182" y="70485"/>
                        <a:pt x="245745" y="0"/>
                        <a:pt x="158115" y="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1" name="任意多边形 229"/>
                <p:cNvSpPr/>
                <p:nvPr/>
              </p:nvSpPr>
              <p:spPr>
                <a:xfrm>
                  <a:off x="9019222" y="2677477"/>
                  <a:ext cx="190500" cy="95250"/>
                </a:xfrm>
                <a:custGeom>
                  <a:avLst/>
                  <a:gdLst>
                    <a:gd name="connsiteX0" fmla="*/ 95250 w 190500"/>
                    <a:gd name="connsiteY0" fmla="*/ 0 h 95250"/>
                    <a:gd name="connsiteX1" fmla="*/ 0 w 190500"/>
                    <a:gd name="connsiteY1" fmla="*/ 95250 h 95250"/>
                    <a:gd name="connsiteX2" fmla="*/ 190500 w 190500"/>
                    <a:gd name="connsiteY2" fmla="*/ 95250 h 95250"/>
                    <a:gd name="connsiteX3" fmla="*/ 95250 w 190500"/>
                    <a:gd name="connsiteY3" fmla="*/ 0 h 95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0500" h="95250">
                      <a:moveTo>
                        <a:pt x="95250" y="0"/>
                      </a:moveTo>
                      <a:cubicBezTo>
                        <a:pt x="42863" y="0"/>
                        <a:pt x="0" y="42863"/>
                        <a:pt x="0" y="95250"/>
                      </a:cubicBezTo>
                      <a:lnTo>
                        <a:pt x="190500" y="95250"/>
                      </a:lnTo>
                      <a:cubicBezTo>
                        <a:pt x="190500" y="42863"/>
                        <a:pt x="148590" y="0"/>
                        <a:pt x="95250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2" name="任意多边形 230"/>
                <p:cNvSpPr/>
                <p:nvPr/>
              </p:nvSpPr>
              <p:spPr>
                <a:xfrm>
                  <a:off x="9139237" y="2706052"/>
                  <a:ext cx="134324" cy="67627"/>
                </a:xfrm>
                <a:custGeom>
                  <a:avLst/>
                  <a:gdLst>
                    <a:gd name="connsiteX0" fmla="*/ 67627 w 134324"/>
                    <a:gd name="connsiteY0" fmla="*/ 0 h 67627"/>
                    <a:gd name="connsiteX1" fmla="*/ 0 w 134324"/>
                    <a:gd name="connsiteY1" fmla="*/ 67628 h 67627"/>
                    <a:gd name="connsiteX2" fmla="*/ 134302 w 134324"/>
                    <a:gd name="connsiteY2" fmla="*/ 67628 h 67627"/>
                    <a:gd name="connsiteX3" fmla="*/ 67627 w 134324"/>
                    <a:gd name="connsiteY3" fmla="*/ 0 h 67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4324" h="67627">
                      <a:moveTo>
                        <a:pt x="67627" y="0"/>
                      </a:moveTo>
                      <a:cubicBezTo>
                        <a:pt x="30480" y="0"/>
                        <a:pt x="0" y="30480"/>
                        <a:pt x="0" y="67628"/>
                      </a:cubicBezTo>
                      <a:lnTo>
                        <a:pt x="134302" y="67628"/>
                      </a:lnTo>
                      <a:cubicBezTo>
                        <a:pt x="135255" y="30480"/>
                        <a:pt x="104775" y="0"/>
                        <a:pt x="67627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3" name="任意多边形 231"/>
                <p:cNvSpPr/>
                <p:nvPr/>
              </p:nvSpPr>
              <p:spPr>
                <a:xfrm>
                  <a:off x="9332594" y="2710815"/>
                  <a:ext cx="124777" cy="62865"/>
                </a:xfrm>
                <a:custGeom>
                  <a:avLst/>
                  <a:gdLst>
                    <a:gd name="connsiteX0" fmla="*/ 62865 w 124777"/>
                    <a:gd name="connsiteY0" fmla="*/ 0 h 62865"/>
                    <a:gd name="connsiteX1" fmla="*/ 0 w 124777"/>
                    <a:gd name="connsiteY1" fmla="*/ 62865 h 62865"/>
                    <a:gd name="connsiteX2" fmla="*/ 124778 w 124777"/>
                    <a:gd name="connsiteY2" fmla="*/ 62865 h 62865"/>
                    <a:gd name="connsiteX3" fmla="*/ 62865 w 124777"/>
                    <a:gd name="connsiteY3" fmla="*/ 0 h 62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4777" h="62865">
                      <a:moveTo>
                        <a:pt x="62865" y="0"/>
                      </a:moveTo>
                      <a:cubicBezTo>
                        <a:pt x="28575" y="0"/>
                        <a:pt x="0" y="27622"/>
                        <a:pt x="0" y="62865"/>
                      </a:cubicBezTo>
                      <a:lnTo>
                        <a:pt x="124778" y="62865"/>
                      </a:lnTo>
                      <a:cubicBezTo>
                        <a:pt x="124778" y="27622"/>
                        <a:pt x="97155" y="0"/>
                        <a:pt x="62865" y="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4" name="组合 13"/>
            <p:cNvGrpSpPr/>
            <p:nvPr/>
          </p:nvGrpSpPr>
          <p:grpSpPr>
            <a:xfrm>
              <a:off x="2772569" y="4065269"/>
              <a:ext cx="704850" cy="641032"/>
              <a:chOff x="2737484" y="2132647"/>
              <a:chExt cx="704850" cy="641032"/>
            </a:xfrm>
          </p:grpSpPr>
          <p:sp>
            <p:nvSpPr>
              <p:cNvPr id="15" name="任意多边形 233"/>
              <p:cNvSpPr/>
              <p:nvPr/>
            </p:nvSpPr>
            <p:spPr>
              <a:xfrm>
                <a:off x="2987992" y="2646045"/>
                <a:ext cx="340058" cy="127635"/>
              </a:xfrm>
              <a:custGeom>
                <a:avLst/>
                <a:gdLst>
                  <a:gd name="connsiteX0" fmla="*/ 250508 w 340058"/>
                  <a:gd name="connsiteY0" fmla="*/ 37148 h 127635"/>
                  <a:gd name="connsiteX1" fmla="*/ 221933 w 340058"/>
                  <a:gd name="connsiteY1" fmla="*/ 41910 h 127635"/>
                  <a:gd name="connsiteX2" fmla="*/ 127635 w 340058"/>
                  <a:gd name="connsiteY2" fmla="*/ 0 h 127635"/>
                  <a:gd name="connsiteX3" fmla="*/ 0 w 340058"/>
                  <a:gd name="connsiteY3" fmla="*/ 127635 h 127635"/>
                  <a:gd name="connsiteX4" fmla="*/ 160020 w 340058"/>
                  <a:gd name="connsiteY4" fmla="*/ 127635 h 127635"/>
                  <a:gd name="connsiteX5" fmla="*/ 254318 w 340058"/>
                  <a:gd name="connsiteY5" fmla="*/ 127635 h 127635"/>
                  <a:gd name="connsiteX6" fmla="*/ 340043 w 340058"/>
                  <a:gd name="connsiteY6" fmla="*/ 127635 h 127635"/>
                  <a:gd name="connsiteX7" fmla="*/ 250508 w 340058"/>
                  <a:gd name="connsiteY7" fmla="*/ 37148 h 127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0058" h="127635">
                    <a:moveTo>
                      <a:pt x="250508" y="37148"/>
                    </a:moveTo>
                    <a:cubicBezTo>
                      <a:pt x="240030" y="37148"/>
                      <a:pt x="230505" y="39052"/>
                      <a:pt x="221933" y="41910"/>
                    </a:cubicBezTo>
                    <a:cubicBezTo>
                      <a:pt x="198120" y="16192"/>
                      <a:pt x="164783" y="0"/>
                      <a:pt x="127635" y="0"/>
                    </a:cubicBezTo>
                    <a:cubicBezTo>
                      <a:pt x="57150" y="0"/>
                      <a:pt x="0" y="57150"/>
                      <a:pt x="0" y="127635"/>
                    </a:cubicBezTo>
                    <a:lnTo>
                      <a:pt x="160020" y="127635"/>
                    </a:lnTo>
                    <a:lnTo>
                      <a:pt x="254318" y="127635"/>
                    </a:lnTo>
                    <a:lnTo>
                      <a:pt x="340043" y="127635"/>
                    </a:lnTo>
                    <a:cubicBezTo>
                      <a:pt x="340995" y="77152"/>
                      <a:pt x="300038" y="37148"/>
                      <a:pt x="250508" y="37148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6" name="组合 15"/>
              <p:cNvGrpSpPr/>
              <p:nvPr/>
            </p:nvGrpSpPr>
            <p:grpSpPr>
              <a:xfrm>
                <a:off x="2737484" y="2132647"/>
                <a:ext cx="704850" cy="640080"/>
                <a:chOff x="2737484" y="2132647"/>
                <a:chExt cx="704850" cy="640080"/>
              </a:xfrm>
            </p:grpSpPr>
            <p:sp>
              <p:nvSpPr>
                <p:cNvPr id="18" name="任意多边形 235"/>
                <p:cNvSpPr/>
                <p:nvPr/>
              </p:nvSpPr>
              <p:spPr>
                <a:xfrm>
                  <a:off x="3063239" y="2425065"/>
                  <a:ext cx="49530" cy="347662"/>
                </a:xfrm>
                <a:custGeom>
                  <a:avLst/>
                  <a:gdLst>
                    <a:gd name="connsiteX0" fmla="*/ 0 w 49530"/>
                    <a:gd name="connsiteY0" fmla="*/ 347663 h 347662"/>
                    <a:gd name="connsiteX1" fmla="*/ 49530 w 49530"/>
                    <a:gd name="connsiteY1" fmla="*/ 347663 h 347662"/>
                    <a:gd name="connsiteX2" fmla="*/ 43815 w 49530"/>
                    <a:gd name="connsiteY2" fmla="*/ 0 h 347662"/>
                    <a:gd name="connsiteX3" fmla="*/ 8573 w 49530"/>
                    <a:gd name="connsiteY3" fmla="*/ 0 h 347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9530" h="347662">
                      <a:moveTo>
                        <a:pt x="0" y="347663"/>
                      </a:moveTo>
                      <a:lnTo>
                        <a:pt x="49530" y="347663"/>
                      </a:lnTo>
                      <a:lnTo>
                        <a:pt x="43815" y="0"/>
                      </a:lnTo>
                      <a:lnTo>
                        <a:pt x="8573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" name="任意多边形 236"/>
                <p:cNvSpPr/>
                <p:nvPr/>
              </p:nvSpPr>
              <p:spPr>
                <a:xfrm>
                  <a:off x="3097529" y="2373629"/>
                  <a:ext cx="150866" cy="200025"/>
                </a:xfrm>
                <a:custGeom>
                  <a:avLst/>
                  <a:gdLst>
                    <a:gd name="connsiteX0" fmla="*/ 952 w 150866"/>
                    <a:gd name="connsiteY0" fmla="*/ 158115 h 200025"/>
                    <a:gd name="connsiteX1" fmla="*/ 110490 w 150866"/>
                    <a:gd name="connsiteY1" fmla="*/ 0 h 200025"/>
                    <a:gd name="connsiteX2" fmla="*/ 149543 w 150866"/>
                    <a:gd name="connsiteY2" fmla="*/ 6667 h 200025"/>
                    <a:gd name="connsiteX3" fmla="*/ 0 w 150866"/>
                    <a:gd name="connsiteY3" fmla="*/ 200025 h 200025"/>
                    <a:gd name="connsiteX4" fmla="*/ 952 w 150866"/>
                    <a:gd name="connsiteY4" fmla="*/ 158115 h 200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66" h="200025">
                      <a:moveTo>
                        <a:pt x="952" y="158115"/>
                      </a:moveTo>
                      <a:cubicBezTo>
                        <a:pt x="952" y="158115"/>
                        <a:pt x="152400" y="141923"/>
                        <a:pt x="110490" y="0"/>
                      </a:cubicBezTo>
                      <a:lnTo>
                        <a:pt x="149543" y="6667"/>
                      </a:lnTo>
                      <a:cubicBezTo>
                        <a:pt x="149543" y="6667"/>
                        <a:pt x="175260" y="144780"/>
                        <a:pt x="0" y="200025"/>
                      </a:cubicBezTo>
                      <a:lnTo>
                        <a:pt x="952" y="158115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" name="任意多边形 237"/>
                <p:cNvSpPr/>
                <p:nvPr/>
              </p:nvSpPr>
              <p:spPr>
                <a:xfrm>
                  <a:off x="2968935" y="2326957"/>
                  <a:ext cx="120973" cy="156209"/>
                </a:xfrm>
                <a:custGeom>
                  <a:avLst/>
                  <a:gdLst>
                    <a:gd name="connsiteX0" fmla="*/ 30486 w 120973"/>
                    <a:gd name="connsiteY0" fmla="*/ 10477 h 156209"/>
                    <a:gd name="connsiteX1" fmla="*/ 120974 w 120973"/>
                    <a:gd name="connsiteY1" fmla="*/ 128588 h 156209"/>
                    <a:gd name="connsiteX2" fmla="*/ 106686 w 120973"/>
                    <a:gd name="connsiteY2" fmla="*/ 156210 h 156209"/>
                    <a:gd name="connsiteX3" fmla="*/ 6 w 120973"/>
                    <a:gd name="connsiteY3" fmla="*/ 0 h 156209"/>
                    <a:gd name="connsiteX4" fmla="*/ 30486 w 120973"/>
                    <a:gd name="connsiteY4" fmla="*/ 10477 h 156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0973" h="156209">
                      <a:moveTo>
                        <a:pt x="30486" y="10477"/>
                      </a:moveTo>
                      <a:cubicBezTo>
                        <a:pt x="30486" y="10477"/>
                        <a:pt x="5721" y="125730"/>
                        <a:pt x="120974" y="128588"/>
                      </a:cubicBezTo>
                      <a:lnTo>
                        <a:pt x="106686" y="156210"/>
                      </a:lnTo>
                      <a:cubicBezTo>
                        <a:pt x="106686" y="156210"/>
                        <a:pt x="-946" y="141922"/>
                        <a:pt x="6" y="0"/>
                      </a:cubicBezTo>
                      <a:lnTo>
                        <a:pt x="30486" y="10477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" name="任意多边形 238"/>
                <p:cNvSpPr/>
                <p:nvPr/>
              </p:nvSpPr>
              <p:spPr>
                <a:xfrm>
                  <a:off x="2832734" y="2346959"/>
                  <a:ext cx="167640" cy="97818"/>
                </a:xfrm>
                <a:custGeom>
                  <a:avLst/>
                  <a:gdLst>
                    <a:gd name="connsiteX0" fmla="*/ 32385 w 167640"/>
                    <a:gd name="connsiteY0" fmla="*/ 0 h 97818"/>
                    <a:gd name="connsiteX1" fmla="*/ 167640 w 167640"/>
                    <a:gd name="connsiteY1" fmla="*/ 61913 h 97818"/>
                    <a:gd name="connsiteX2" fmla="*/ 167640 w 167640"/>
                    <a:gd name="connsiteY2" fmla="*/ 92393 h 97818"/>
                    <a:gd name="connsiteX3" fmla="*/ 0 w 167640"/>
                    <a:gd name="connsiteY3" fmla="*/ 4763 h 97818"/>
                    <a:gd name="connsiteX4" fmla="*/ 32385 w 167640"/>
                    <a:gd name="connsiteY4" fmla="*/ 0 h 97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97818">
                      <a:moveTo>
                        <a:pt x="32385" y="0"/>
                      </a:moveTo>
                      <a:cubicBezTo>
                        <a:pt x="32385" y="0"/>
                        <a:pt x="64770" y="112395"/>
                        <a:pt x="167640" y="61913"/>
                      </a:cubicBezTo>
                      <a:lnTo>
                        <a:pt x="167640" y="92393"/>
                      </a:lnTo>
                      <a:cubicBezTo>
                        <a:pt x="167640" y="92393"/>
                        <a:pt x="65723" y="130493"/>
                        <a:pt x="0" y="4763"/>
                      </a:cubicBezTo>
                      <a:lnTo>
                        <a:pt x="32385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" name="任意多边形 239"/>
                <p:cNvSpPr/>
                <p:nvPr/>
              </p:nvSpPr>
              <p:spPr>
                <a:xfrm>
                  <a:off x="3191826" y="2437447"/>
                  <a:ext cx="179070" cy="91847"/>
                </a:xfrm>
                <a:custGeom>
                  <a:avLst/>
                  <a:gdLst>
                    <a:gd name="connsiteX0" fmla="*/ 18098 w 179070"/>
                    <a:gd name="connsiteY0" fmla="*/ 56198 h 91847"/>
                    <a:gd name="connsiteX1" fmla="*/ 156210 w 179070"/>
                    <a:gd name="connsiteY1" fmla="*/ 0 h 91847"/>
                    <a:gd name="connsiteX2" fmla="*/ 179070 w 179070"/>
                    <a:gd name="connsiteY2" fmla="*/ 20955 h 91847"/>
                    <a:gd name="connsiteX3" fmla="*/ 0 w 179070"/>
                    <a:gd name="connsiteY3" fmla="*/ 82868 h 91847"/>
                    <a:gd name="connsiteX4" fmla="*/ 18098 w 179070"/>
                    <a:gd name="connsiteY4" fmla="*/ 56198 h 91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9070" h="91847">
                      <a:moveTo>
                        <a:pt x="18098" y="56198"/>
                      </a:moveTo>
                      <a:cubicBezTo>
                        <a:pt x="18098" y="56198"/>
                        <a:pt x="122873" y="109538"/>
                        <a:pt x="156210" y="0"/>
                      </a:cubicBezTo>
                      <a:lnTo>
                        <a:pt x="179070" y="20955"/>
                      </a:lnTo>
                      <a:cubicBezTo>
                        <a:pt x="179070" y="20955"/>
                        <a:pt x="137160" y="121920"/>
                        <a:pt x="0" y="82868"/>
                      </a:cubicBezTo>
                      <a:lnTo>
                        <a:pt x="18098" y="56198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" name="任意多边形 240"/>
                <p:cNvSpPr/>
                <p:nvPr/>
              </p:nvSpPr>
              <p:spPr>
                <a:xfrm>
                  <a:off x="2895599" y="2154554"/>
                  <a:ext cx="180975" cy="215265"/>
                </a:xfrm>
                <a:custGeom>
                  <a:avLst/>
                  <a:gdLst>
                    <a:gd name="connsiteX0" fmla="*/ 180975 w 180975"/>
                    <a:gd name="connsiteY0" fmla="*/ 119063 h 215265"/>
                    <a:gd name="connsiteX1" fmla="*/ 90488 w 180975"/>
                    <a:gd name="connsiteY1" fmla="*/ 215265 h 215265"/>
                    <a:gd name="connsiteX2" fmla="*/ 0 w 180975"/>
                    <a:gd name="connsiteY2" fmla="*/ 119063 h 215265"/>
                    <a:gd name="connsiteX3" fmla="*/ 90488 w 180975"/>
                    <a:gd name="connsiteY3" fmla="*/ 0 h 215265"/>
                    <a:gd name="connsiteX4" fmla="*/ 180975 w 180975"/>
                    <a:gd name="connsiteY4" fmla="*/ 119063 h 215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975" h="215265">
                      <a:moveTo>
                        <a:pt x="180975" y="119063"/>
                      </a:moveTo>
                      <a:cubicBezTo>
                        <a:pt x="180975" y="184785"/>
                        <a:pt x="140970" y="215265"/>
                        <a:pt x="90488" y="215265"/>
                      </a:cubicBezTo>
                      <a:cubicBezTo>
                        <a:pt x="40957" y="215265"/>
                        <a:pt x="0" y="184785"/>
                        <a:pt x="0" y="119063"/>
                      </a:cubicBezTo>
                      <a:cubicBezTo>
                        <a:pt x="0" y="53340"/>
                        <a:pt x="40005" y="0"/>
                        <a:pt x="90488" y="0"/>
                      </a:cubicBezTo>
                      <a:cubicBezTo>
                        <a:pt x="140018" y="0"/>
                        <a:pt x="180975" y="53340"/>
                        <a:pt x="180975" y="11906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" name="任意多边形 241"/>
                <p:cNvSpPr/>
                <p:nvPr/>
              </p:nvSpPr>
              <p:spPr>
                <a:xfrm>
                  <a:off x="2737484" y="2132647"/>
                  <a:ext cx="217170" cy="259080"/>
                </a:xfrm>
                <a:custGeom>
                  <a:avLst/>
                  <a:gdLst>
                    <a:gd name="connsiteX0" fmla="*/ 217170 w 217170"/>
                    <a:gd name="connsiteY0" fmla="*/ 142875 h 259080"/>
                    <a:gd name="connsiteX1" fmla="*/ 108585 w 217170"/>
                    <a:gd name="connsiteY1" fmla="*/ 259080 h 259080"/>
                    <a:gd name="connsiteX2" fmla="*/ 0 w 217170"/>
                    <a:gd name="connsiteY2" fmla="*/ 142875 h 259080"/>
                    <a:gd name="connsiteX3" fmla="*/ 108585 w 217170"/>
                    <a:gd name="connsiteY3" fmla="*/ 0 h 259080"/>
                    <a:gd name="connsiteX4" fmla="*/ 217170 w 217170"/>
                    <a:gd name="connsiteY4" fmla="*/ 142875 h 259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70" h="259080">
                      <a:moveTo>
                        <a:pt x="217170" y="142875"/>
                      </a:moveTo>
                      <a:cubicBezTo>
                        <a:pt x="217170" y="221933"/>
                        <a:pt x="168593" y="259080"/>
                        <a:pt x="108585" y="259080"/>
                      </a:cubicBezTo>
                      <a:cubicBezTo>
                        <a:pt x="48578" y="259080"/>
                        <a:pt x="0" y="222885"/>
                        <a:pt x="0" y="142875"/>
                      </a:cubicBezTo>
                      <a:cubicBezTo>
                        <a:pt x="0" y="63818"/>
                        <a:pt x="48578" y="0"/>
                        <a:pt x="108585" y="0"/>
                      </a:cubicBezTo>
                      <a:cubicBezTo>
                        <a:pt x="168593" y="0"/>
                        <a:pt x="217170" y="63818"/>
                        <a:pt x="217170" y="142875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5" name="任意多边形 242"/>
                <p:cNvSpPr/>
                <p:nvPr/>
              </p:nvSpPr>
              <p:spPr>
                <a:xfrm>
                  <a:off x="3108959" y="2200275"/>
                  <a:ext cx="217169" cy="218122"/>
                </a:xfrm>
                <a:custGeom>
                  <a:avLst/>
                  <a:gdLst>
                    <a:gd name="connsiteX0" fmla="*/ 217170 w 217169"/>
                    <a:gd name="connsiteY0" fmla="*/ 120967 h 218122"/>
                    <a:gd name="connsiteX1" fmla="*/ 108585 w 217169"/>
                    <a:gd name="connsiteY1" fmla="*/ 218122 h 218122"/>
                    <a:gd name="connsiteX2" fmla="*/ 0 w 217169"/>
                    <a:gd name="connsiteY2" fmla="*/ 120967 h 218122"/>
                    <a:gd name="connsiteX3" fmla="*/ 108585 w 217169"/>
                    <a:gd name="connsiteY3" fmla="*/ 0 h 218122"/>
                    <a:gd name="connsiteX4" fmla="*/ 217170 w 217169"/>
                    <a:gd name="connsiteY4" fmla="*/ 120967 h 218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69" h="218122">
                      <a:moveTo>
                        <a:pt x="217170" y="120967"/>
                      </a:moveTo>
                      <a:cubicBezTo>
                        <a:pt x="217170" y="187642"/>
                        <a:pt x="168592" y="218122"/>
                        <a:pt x="108585" y="218122"/>
                      </a:cubicBezTo>
                      <a:cubicBezTo>
                        <a:pt x="48577" y="218122"/>
                        <a:pt x="0" y="187642"/>
                        <a:pt x="0" y="120967"/>
                      </a:cubicBezTo>
                      <a:cubicBezTo>
                        <a:pt x="0" y="54292"/>
                        <a:pt x="48577" y="0"/>
                        <a:pt x="108585" y="0"/>
                      </a:cubicBezTo>
                      <a:cubicBezTo>
                        <a:pt x="168592" y="0"/>
                        <a:pt x="217170" y="54292"/>
                        <a:pt x="217170" y="120967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6" name="任意多边形 243"/>
                <p:cNvSpPr/>
                <p:nvPr/>
              </p:nvSpPr>
              <p:spPr>
                <a:xfrm>
                  <a:off x="3016567" y="2297429"/>
                  <a:ext cx="142875" cy="144779"/>
                </a:xfrm>
                <a:custGeom>
                  <a:avLst/>
                  <a:gdLst>
                    <a:gd name="connsiteX0" fmla="*/ 142875 w 142875"/>
                    <a:gd name="connsiteY0" fmla="*/ 80010 h 144779"/>
                    <a:gd name="connsiteX1" fmla="*/ 71438 w 142875"/>
                    <a:gd name="connsiteY1" fmla="*/ 144780 h 144779"/>
                    <a:gd name="connsiteX2" fmla="*/ 0 w 142875"/>
                    <a:gd name="connsiteY2" fmla="*/ 80010 h 144779"/>
                    <a:gd name="connsiteX3" fmla="*/ 71438 w 142875"/>
                    <a:gd name="connsiteY3" fmla="*/ 0 h 144779"/>
                    <a:gd name="connsiteX4" fmla="*/ 142875 w 142875"/>
                    <a:gd name="connsiteY4" fmla="*/ 80010 h 144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875" h="144779">
                      <a:moveTo>
                        <a:pt x="142875" y="80010"/>
                      </a:moveTo>
                      <a:cubicBezTo>
                        <a:pt x="142875" y="123825"/>
                        <a:pt x="110490" y="144780"/>
                        <a:pt x="71438" y="144780"/>
                      </a:cubicBezTo>
                      <a:cubicBezTo>
                        <a:pt x="31432" y="144780"/>
                        <a:pt x="0" y="124778"/>
                        <a:pt x="0" y="80010"/>
                      </a:cubicBezTo>
                      <a:cubicBezTo>
                        <a:pt x="0" y="36195"/>
                        <a:pt x="32385" y="0"/>
                        <a:pt x="71438" y="0"/>
                      </a:cubicBezTo>
                      <a:cubicBezTo>
                        <a:pt x="110490" y="0"/>
                        <a:pt x="142875" y="36195"/>
                        <a:pt x="142875" y="8001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7" name="任意多边形 244"/>
                <p:cNvSpPr/>
                <p:nvPr/>
              </p:nvSpPr>
              <p:spPr>
                <a:xfrm>
                  <a:off x="3274694" y="2323147"/>
                  <a:ext cx="167640" cy="167640"/>
                </a:xfrm>
                <a:custGeom>
                  <a:avLst/>
                  <a:gdLst>
                    <a:gd name="connsiteX0" fmla="*/ 167640 w 167640"/>
                    <a:gd name="connsiteY0" fmla="*/ 92393 h 167640"/>
                    <a:gd name="connsiteX1" fmla="*/ 83820 w 167640"/>
                    <a:gd name="connsiteY1" fmla="*/ 167640 h 167640"/>
                    <a:gd name="connsiteX2" fmla="*/ 0 w 167640"/>
                    <a:gd name="connsiteY2" fmla="*/ 92393 h 167640"/>
                    <a:gd name="connsiteX3" fmla="*/ 83820 w 167640"/>
                    <a:gd name="connsiteY3" fmla="*/ 0 h 167640"/>
                    <a:gd name="connsiteX4" fmla="*/ 167640 w 167640"/>
                    <a:gd name="connsiteY4" fmla="*/ 92393 h 1676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167640">
                      <a:moveTo>
                        <a:pt x="167640" y="92393"/>
                      </a:moveTo>
                      <a:cubicBezTo>
                        <a:pt x="167640" y="143828"/>
                        <a:pt x="130493" y="167640"/>
                        <a:pt x="83820" y="167640"/>
                      </a:cubicBezTo>
                      <a:cubicBezTo>
                        <a:pt x="38100" y="167640"/>
                        <a:pt x="0" y="143828"/>
                        <a:pt x="0" y="92393"/>
                      </a:cubicBezTo>
                      <a:cubicBezTo>
                        <a:pt x="0" y="40958"/>
                        <a:pt x="37148" y="0"/>
                        <a:pt x="83820" y="0"/>
                      </a:cubicBezTo>
                      <a:cubicBezTo>
                        <a:pt x="129540" y="0"/>
                        <a:pt x="167640" y="40958"/>
                        <a:pt x="167640" y="9239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7" name="任意多边形 245"/>
              <p:cNvSpPr/>
              <p:nvPr/>
            </p:nvSpPr>
            <p:spPr>
              <a:xfrm>
                <a:off x="2830829" y="2681287"/>
                <a:ext cx="247650" cy="92392"/>
              </a:xfrm>
              <a:custGeom>
                <a:avLst/>
                <a:gdLst>
                  <a:gd name="connsiteX0" fmla="*/ 65723 w 247650"/>
                  <a:gd name="connsiteY0" fmla="*/ 26670 h 92392"/>
                  <a:gd name="connsiteX1" fmla="*/ 86677 w 247650"/>
                  <a:gd name="connsiteY1" fmla="*/ 30480 h 92392"/>
                  <a:gd name="connsiteX2" fmla="*/ 155258 w 247650"/>
                  <a:gd name="connsiteY2" fmla="*/ 0 h 92392"/>
                  <a:gd name="connsiteX3" fmla="*/ 247650 w 247650"/>
                  <a:gd name="connsiteY3" fmla="*/ 92393 h 92392"/>
                  <a:gd name="connsiteX4" fmla="*/ 130493 w 247650"/>
                  <a:gd name="connsiteY4" fmla="*/ 92393 h 92392"/>
                  <a:gd name="connsiteX5" fmla="*/ 61913 w 247650"/>
                  <a:gd name="connsiteY5" fmla="*/ 92393 h 92392"/>
                  <a:gd name="connsiteX6" fmla="*/ 0 w 247650"/>
                  <a:gd name="connsiteY6" fmla="*/ 92393 h 92392"/>
                  <a:gd name="connsiteX7" fmla="*/ 65723 w 247650"/>
                  <a:gd name="connsiteY7" fmla="*/ 26670 h 92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7650" h="92392">
                    <a:moveTo>
                      <a:pt x="65723" y="26670"/>
                    </a:moveTo>
                    <a:cubicBezTo>
                      <a:pt x="73343" y="26670"/>
                      <a:pt x="80010" y="27622"/>
                      <a:pt x="86677" y="30480"/>
                    </a:cubicBezTo>
                    <a:cubicBezTo>
                      <a:pt x="103823" y="11430"/>
                      <a:pt x="127635" y="0"/>
                      <a:pt x="155258" y="0"/>
                    </a:cubicBezTo>
                    <a:cubicBezTo>
                      <a:pt x="206693" y="0"/>
                      <a:pt x="247650" y="40957"/>
                      <a:pt x="247650" y="92393"/>
                    </a:cubicBezTo>
                    <a:lnTo>
                      <a:pt x="130493" y="92393"/>
                    </a:lnTo>
                    <a:lnTo>
                      <a:pt x="61913" y="92393"/>
                    </a:lnTo>
                    <a:lnTo>
                      <a:pt x="0" y="92393"/>
                    </a:lnTo>
                    <a:cubicBezTo>
                      <a:pt x="0" y="56197"/>
                      <a:pt x="29528" y="26670"/>
                      <a:pt x="65723" y="2667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pic>
        <p:nvPicPr>
          <p:cNvPr id="87" name="图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700" y="1046480"/>
            <a:ext cx="11657330" cy="4662805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esult of autoencoder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2</a:t>
            </a:fld>
            <a:endParaRPr lang="zh-CN" altLang="en-US"/>
          </a:p>
        </p:txBody>
      </p:sp>
      <p:grpSp>
        <p:nvGrpSpPr>
          <p:cNvPr id="5" name="组合 4"/>
          <p:cNvGrpSpPr/>
          <p:nvPr/>
        </p:nvGrpSpPr>
        <p:grpSpPr>
          <a:xfrm>
            <a:off x="8358909" y="5477164"/>
            <a:ext cx="3719729" cy="1298762"/>
            <a:chOff x="2772569" y="2151697"/>
            <a:chExt cx="6719888" cy="2554605"/>
          </a:xfrm>
        </p:grpSpPr>
        <p:grpSp>
          <p:nvGrpSpPr>
            <p:cNvPr id="6" name="组合 5"/>
            <p:cNvGrpSpPr/>
            <p:nvPr/>
          </p:nvGrpSpPr>
          <p:grpSpPr>
            <a:xfrm>
              <a:off x="7873207" y="2151697"/>
              <a:ext cx="1093469" cy="2553652"/>
              <a:chOff x="7838122" y="219075"/>
              <a:chExt cx="1093469" cy="2553652"/>
            </a:xfrm>
          </p:grpSpPr>
          <p:sp>
            <p:nvSpPr>
              <p:cNvPr id="79" name="任意多边形 157"/>
              <p:cNvSpPr/>
              <p:nvPr/>
            </p:nvSpPr>
            <p:spPr>
              <a:xfrm>
                <a:off x="8309609" y="280987"/>
                <a:ext cx="151447" cy="2491740"/>
              </a:xfrm>
              <a:custGeom>
                <a:avLst/>
                <a:gdLst>
                  <a:gd name="connsiteX0" fmla="*/ 151447 w 151447"/>
                  <a:gd name="connsiteY0" fmla="*/ 2491740 h 2491740"/>
                  <a:gd name="connsiteX1" fmla="*/ 0 w 151447"/>
                  <a:gd name="connsiteY1" fmla="*/ 2491740 h 2491740"/>
                  <a:gd name="connsiteX2" fmla="*/ 52388 w 151447"/>
                  <a:gd name="connsiteY2" fmla="*/ 0 h 2491740"/>
                  <a:gd name="connsiteX3" fmla="*/ 99060 w 151447"/>
                  <a:gd name="connsiteY3" fmla="*/ 0 h 249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1447" h="2491740">
                    <a:moveTo>
                      <a:pt x="151447" y="2491740"/>
                    </a:moveTo>
                    <a:lnTo>
                      <a:pt x="0" y="2491740"/>
                    </a:lnTo>
                    <a:lnTo>
                      <a:pt x="52388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80" name="组合 79"/>
              <p:cNvGrpSpPr/>
              <p:nvPr/>
            </p:nvGrpSpPr>
            <p:grpSpPr>
              <a:xfrm>
                <a:off x="7838122" y="219075"/>
                <a:ext cx="1093469" cy="1788795"/>
                <a:chOff x="7838122" y="219075"/>
                <a:chExt cx="1093469" cy="1788795"/>
              </a:xfrm>
            </p:grpSpPr>
            <p:sp>
              <p:nvSpPr>
                <p:cNvPr id="81" name="任意多边形 159"/>
                <p:cNvSpPr/>
                <p:nvPr/>
              </p:nvSpPr>
              <p:spPr>
                <a:xfrm>
                  <a:off x="7838122" y="1418272"/>
                  <a:ext cx="1093469" cy="589597"/>
                </a:xfrm>
                <a:custGeom>
                  <a:avLst/>
                  <a:gdLst>
                    <a:gd name="connsiteX0" fmla="*/ 542925 w 1093469"/>
                    <a:gd name="connsiteY0" fmla="*/ 0 h 589597"/>
                    <a:gd name="connsiteX1" fmla="*/ 0 w 1093469"/>
                    <a:gd name="connsiteY1" fmla="*/ 589598 h 589597"/>
                    <a:gd name="connsiteX2" fmla="*/ 546735 w 1093469"/>
                    <a:gd name="connsiteY2" fmla="*/ 589598 h 589597"/>
                    <a:gd name="connsiteX3" fmla="*/ 1093470 w 1093469"/>
                    <a:gd name="connsiteY3" fmla="*/ 589598 h 589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93469" h="589597">
                      <a:moveTo>
                        <a:pt x="542925" y="0"/>
                      </a:moveTo>
                      <a:lnTo>
                        <a:pt x="0" y="589598"/>
                      </a:lnTo>
                      <a:lnTo>
                        <a:pt x="546735" y="589598"/>
                      </a:lnTo>
                      <a:lnTo>
                        <a:pt x="1093470" y="589598"/>
                      </a:ln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2" name="任意多边形 160"/>
                <p:cNvSpPr/>
                <p:nvPr/>
              </p:nvSpPr>
              <p:spPr>
                <a:xfrm>
                  <a:off x="7892414" y="1091564"/>
                  <a:ext cx="979170" cy="480060"/>
                </a:xfrm>
                <a:custGeom>
                  <a:avLst/>
                  <a:gdLst>
                    <a:gd name="connsiteX0" fmla="*/ 486728 w 979170"/>
                    <a:gd name="connsiteY0" fmla="*/ 0 h 480060"/>
                    <a:gd name="connsiteX1" fmla="*/ 0 w 979170"/>
                    <a:gd name="connsiteY1" fmla="*/ 480060 h 480060"/>
                    <a:gd name="connsiteX2" fmla="*/ 489585 w 979170"/>
                    <a:gd name="connsiteY2" fmla="*/ 480060 h 480060"/>
                    <a:gd name="connsiteX3" fmla="*/ 979170 w 979170"/>
                    <a:gd name="connsiteY3" fmla="*/ 480060 h 4800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9170" h="480060">
                      <a:moveTo>
                        <a:pt x="486728" y="0"/>
                      </a:moveTo>
                      <a:lnTo>
                        <a:pt x="0" y="480060"/>
                      </a:lnTo>
                      <a:lnTo>
                        <a:pt x="489585" y="480060"/>
                      </a:lnTo>
                      <a:lnTo>
                        <a:pt x="979170" y="480060"/>
                      </a:ln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3" name="任意多边形 161"/>
                <p:cNvSpPr/>
                <p:nvPr/>
              </p:nvSpPr>
              <p:spPr>
                <a:xfrm>
                  <a:off x="7937181" y="819150"/>
                  <a:ext cx="886777" cy="398145"/>
                </a:xfrm>
                <a:custGeom>
                  <a:avLst/>
                  <a:gdLst>
                    <a:gd name="connsiteX0" fmla="*/ 441007 w 886777"/>
                    <a:gd name="connsiteY0" fmla="*/ 0 h 398145"/>
                    <a:gd name="connsiteX1" fmla="*/ 0 w 886777"/>
                    <a:gd name="connsiteY1" fmla="*/ 398145 h 398145"/>
                    <a:gd name="connsiteX2" fmla="*/ 442913 w 886777"/>
                    <a:gd name="connsiteY2" fmla="*/ 398145 h 398145"/>
                    <a:gd name="connsiteX3" fmla="*/ 886778 w 886777"/>
                    <a:gd name="connsiteY3" fmla="*/ 398145 h 3981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86777" h="398145">
                      <a:moveTo>
                        <a:pt x="441007" y="0"/>
                      </a:moveTo>
                      <a:lnTo>
                        <a:pt x="0" y="398145"/>
                      </a:lnTo>
                      <a:lnTo>
                        <a:pt x="442913" y="398145"/>
                      </a:lnTo>
                      <a:lnTo>
                        <a:pt x="886778" y="398145"/>
                      </a:ln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4" name="任意多边形 162"/>
                <p:cNvSpPr/>
                <p:nvPr/>
              </p:nvSpPr>
              <p:spPr>
                <a:xfrm>
                  <a:off x="7973376" y="587692"/>
                  <a:ext cx="809625" cy="336232"/>
                </a:xfrm>
                <a:custGeom>
                  <a:avLst/>
                  <a:gdLst>
                    <a:gd name="connsiteX0" fmla="*/ 402908 w 809625"/>
                    <a:gd name="connsiteY0" fmla="*/ 0 h 336232"/>
                    <a:gd name="connsiteX1" fmla="*/ 0 w 809625"/>
                    <a:gd name="connsiteY1" fmla="*/ 336233 h 336232"/>
                    <a:gd name="connsiteX2" fmla="*/ 404813 w 809625"/>
                    <a:gd name="connsiteY2" fmla="*/ 336233 h 336232"/>
                    <a:gd name="connsiteX3" fmla="*/ 809625 w 809625"/>
                    <a:gd name="connsiteY3" fmla="*/ 336233 h 336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9625" h="336232">
                      <a:moveTo>
                        <a:pt x="402908" y="0"/>
                      </a:moveTo>
                      <a:lnTo>
                        <a:pt x="0" y="336233"/>
                      </a:lnTo>
                      <a:lnTo>
                        <a:pt x="404813" y="336233"/>
                      </a:lnTo>
                      <a:lnTo>
                        <a:pt x="809625" y="336233"/>
                      </a:lnTo>
                      <a:close/>
                    </a:path>
                  </a:pathLst>
                </a:custGeom>
                <a:solidFill>
                  <a:srgbClr val="45BC5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5" name="任意多边形 163"/>
                <p:cNvSpPr/>
                <p:nvPr/>
              </p:nvSpPr>
              <p:spPr>
                <a:xfrm>
                  <a:off x="8003856" y="390525"/>
                  <a:ext cx="745807" cy="286702"/>
                </a:xfrm>
                <a:custGeom>
                  <a:avLst/>
                  <a:gdLst>
                    <a:gd name="connsiteX0" fmla="*/ 371475 w 745807"/>
                    <a:gd name="connsiteY0" fmla="*/ 0 h 286702"/>
                    <a:gd name="connsiteX1" fmla="*/ 0 w 745807"/>
                    <a:gd name="connsiteY1" fmla="*/ 286703 h 286702"/>
                    <a:gd name="connsiteX2" fmla="*/ 373380 w 745807"/>
                    <a:gd name="connsiteY2" fmla="*/ 286703 h 286702"/>
                    <a:gd name="connsiteX3" fmla="*/ 745807 w 745807"/>
                    <a:gd name="connsiteY3" fmla="*/ 286703 h 286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5807" h="286702">
                      <a:moveTo>
                        <a:pt x="371475" y="0"/>
                      </a:moveTo>
                      <a:lnTo>
                        <a:pt x="0" y="286703"/>
                      </a:lnTo>
                      <a:lnTo>
                        <a:pt x="373380" y="286703"/>
                      </a:lnTo>
                      <a:lnTo>
                        <a:pt x="745807" y="286703"/>
                      </a:ln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6" name="任意多边形 164"/>
                <p:cNvSpPr/>
                <p:nvPr/>
              </p:nvSpPr>
              <p:spPr>
                <a:xfrm>
                  <a:off x="8030526" y="219075"/>
                  <a:ext cx="690562" cy="248602"/>
                </a:xfrm>
                <a:custGeom>
                  <a:avLst/>
                  <a:gdLst>
                    <a:gd name="connsiteX0" fmla="*/ 343853 w 690562"/>
                    <a:gd name="connsiteY0" fmla="*/ 0 h 248602"/>
                    <a:gd name="connsiteX1" fmla="*/ 0 w 690562"/>
                    <a:gd name="connsiteY1" fmla="*/ 248603 h 248602"/>
                    <a:gd name="connsiteX2" fmla="*/ 344805 w 690562"/>
                    <a:gd name="connsiteY2" fmla="*/ 248603 h 248602"/>
                    <a:gd name="connsiteX3" fmla="*/ 690563 w 690562"/>
                    <a:gd name="connsiteY3" fmla="*/ 248603 h 2486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0562" h="248602">
                      <a:moveTo>
                        <a:pt x="343853" y="0"/>
                      </a:moveTo>
                      <a:lnTo>
                        <a:pt x="0" y="248603"/>
                      </a:lnTo>
                      <a:lnTo>
                        <a:pt x="344805" y="248603"/>
                      </a:lnTo>
                      <a:lnTo>
                        <a:pt x="690563" y="248603"/>
                      </a:ln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7" name="组合 6"/>
            <p:cNvGrpSpPr/>
            <p:nvPr/>
          </p:nvGrpSpPr>
          <p:grpSpPr>
            <a:xfrm>
              <a:off x="5240497" y="2258376"/>
              <a:ext cx="1892617" cy="2446972"/>
              <a:chOff x="5205412" y="325754"/>
              <a:chExt cx="1892617" cy="2446972"/>
            </a:xfrm>
          </p:grpSpPr>
          <p:sp>
            <p:nvSpPr>
              <p:cNvPr id="67" name="任意多边形 168"/>
              <p:cNvSpPr/>
              <p:nvPr/>
            </p:nvSpPr>
            <p:spPr>
              <a:xfrm>
                <a:off x="6055042" y="425767"/>
                <a:ext cx="194309" cy="2346960"/>
              </a:xfrm>
              <a:custGeom>
                <a:avLst/>
                <a:gdLst>
                  <a:gd name="connsiteX0" fmla="*/ 194310 w 194309"/>
                  <a:gd name="connsiteY0" fmla="*/ 2346960 h 2346960"/>
                  <a:gd name="connsiteX1" fmla="*/ 0 w 194309"/>
                  <a:gd name="connsiteY1" fmla="*/ 2346960 h 2346960"/>
                  <a:gd name="connsiteX2" fmla="*/ 66675 w 194309"/>
                  <a:gd name="connsiteY2" fmla="*/ 0 h 2346960"/>
                  <a:gd name="connsiteX3" fmla="*/ 127635 w 194309"/>
                  <a:gd name="connsiteY3" fmla="*/ 0 h 2346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4309" h="2346960">
                    <a:moveTo>
                      <a:pt x="194310" y="2346960"/>
                    </a:moveTo>
                    <a:lnTo>
                      <a:pt x="0" y="2346960"/>
                    </a:lnTo>
                    <a:lnTo>
                      <a:pt x="66675" y="0"/>
                    </a:lnTo>
                    <a:lnTo>
                      <a:pt x="127635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8" name="组合 67"/>
              <p:cNvGrpSpPr/>
              <p:nvPr/>
            </p:nvGrpSpPr>
            <p:grpSpPr>
              <a:xfrm>
                <a:off x="5205412" y="325754"/>
                <a:ext cx="1892617" cy="1728787"/>
                <a:chOff x="5205412" y="325754"/>
                <a:chExt cx="1892617" cy="1728787"/>
              </a:xfrm>
            </p:grpSpPr>
            <p:sp>
              <p:nvSpPr>
                <p:cNvPr id="69" name="任意多边形 170"/>
                <p:cNvSpPr/>
                <p:nvPr/>
              </p:nvSpPr>
              <p:spPr>
                <a:xfrm>
                  <a:off x="5354954" y="596264"/>
                  <a:ext cx="741044" cy="741045"/>
                </a:xfrm>
                <a:custGeom>
                  <a:avLst/>
                  <a:gdLst>
                    <a:gd name="connsiteX0" fmla="*/ 741045 w 741044"/>
                    <a:gd name="connsiteY0" fmla="*/ 370523 h 741045"/>
                    <a:gd name="connsiteX1" fmla="*/ 370522 w 741044"/>
                    <a:gd name="connsiteY1" fmla="*/ 741045 h 741045"/>
                    <a:gd name="connsiteX2" fmla="*/ 0 w 741044"/>
                    <a:gd name="connsiteY2" fmla="*/ 370523 h 741045"/>
                    <a:gd name="connsiteX3" fmla="*/ 370522 w 741044"/>
                    <a:gd name="connsiteY3" fmla="*/ 0 h 741045"/>
                    <a:gd name="connsiteX4" fmla="*/ 741045 w 741044"/>
                    <a:gd name="connsiteY4" fmla="*/ 370523 h 741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1044" h="741045">
                      <a:moveTo>
                        <a:pt x="741045" y="370523"/>
                      </a:moveTo>
                      <a:cubicBezTo>
                        <a:pt x="741045" y="575310"/>
                        <a:pt x="575310" y="741045"/>
                        <a:pt x="370522" y="741045"/>
                      </a:cubicBezTo>
                      <a:cubicBezTo>
                        <a:pt x="165735" y="741045"/>
                        <a:pt x="0" y="575310"/>
                        <a:pt x="0" y="370523"/>
                      </a:cubicBezTo>
                      <a:cubicBezTo>
                        <a:pt x="0" y="165735"/>
                        <a:pt x="165735" y="0"/>
                        <a:pt x="370522" y="0"/>
                      </a:cubicBezTo>
                      <a:cubicBezTo>
                        <a:pt x="574357" y="0"/>
                        <a:pt x="741045" y="165735"/>
                        <a:pt x="741045" y="370523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0" name="任意多边形 171"/>
                <p:cNvSpPr/>
                <p:nvPr/>
              </p:nvSpPr>
              <p:spPr>
                <a:xfrm>
                  <a:off x="6587489" y="866769"/>
                  <a:ext cx="510540" cy="510545"/>
                </a:xfrm>
                <a:custGeom>
                  <a:avLst/>
                  <a:gdLst>
                    <a:gd name="connsiteX0" fmla="*/ 510540 w 510540"/>
                    <a:gd name="connsiteY0" fmla="*/ 255276 h 510545"/>
                    <a:gd name="connsiteX1" fmla="*/ 255270 w 510540"/>
                    <a:gd name="connsiteY1" fmla="*/ 510546 h 510545"/>
                    <a:gd name="connsiteX2" fmla="*/ 0 w 510540"/>
                    <a:gd name="connsiteY2" fmla="*/ 255276 h 510545"/>
                    <a:gd name="connsiteX3" fmla="*/ 255270 w 510540"/>
                    <a:gd name="connsiteY3" fmla="*/ 6 h 510545"/>
                    <a:gd name="connsiteX4" fmla="*/ 510540 w 510540"/>
                    <a:gd name="connsiteY4" fmla="*/ 255276 h 5105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0540" h="510545">
                      <a:moveTo>
                        <a:pt x="510540" y="255276"/>
                      </a:moveTo>
                      <a:cubicBezTo>
                        <a:pt x="510540" y="396246"/>
                        <a:pt x="396240" y="510546"/>
                        <a:pt x="255270" y="510546"/>
                      </a:cubicBezTo>
                      <a:cubicBezTo>
                        <a:pt x="114300" y="510546"/>
                        <a:pt x="0" y="396246"/>
                        <a:pt x="0" y="255276"/>
                      </a:cubicBezTo>
                      <a:cubicBezTo>
                        <a:pt x="0" y="114306"/>
                        <a:pt x="114300" y="6"/>
                        <a:pt x="255270" y="6"/>
                      </a:cubicBezTo>
                      <a:cubicBezTo>
                        <a:pt x="396240" y="-947"/>
                        <a:pt x="510540" y="114306"/>
                        <a:pt x="510540" y="255276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1" name="任意多边形 172"/>
                <p:cNvSpPr/>
                <p:nvPr/>
              </p:nvSpPr>
              <p:spPr>
                <a:xfrm>
                  <a:off x="5427344" y="545782"/>
                  <a:ext cx="1508760" cy="1508759"/>
                </a:xfrm>
                <a:custGeom>
                  <a:avLst/>
                  <a:gdLst>
                    <a:gd name="connsiteX0" fmla="*/ 1508760 w 1508760"/>
                    <a:gd name="connsiteY0" fmla="*/ 754380 h 1508759"/>
                    <a:gd name="connsiteX1" fmla="*/ 754380 w 1508760"/>
                    <a:gd name="connsiteY1" fmla="*/ 1508760 h 1508759"/>
                    <a:gd name="connsiteX2" fmla="*/ 0 w 1508760"/>
                    <a:gd name="connsiteY2" fmla="*/ 754380 h 1508759"/>
                    <a:gd name="connsiteX3" fmla="*/ 754380 w 1508760"/>
                    <a:gd name="connsiteY3" fmla="*/ 0 h 1508759"/>
                    <a:gd name="connsiteX4" fmla="*/ 1508760 w 1508760"/>
                    <a:gd name="connsiteY4" fmla="*/ 754380 h 1508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760" h="1508759">
                      <a:moveTo>
                        <a:pt x="1508760" y="754380"/>
                      </a:moveTo>
                      <a:cubicBezTo>
                        <a:pt x="1508760" y="1170623"/>
                        <a:pt x="1171575" y="1508760"/>
                        <a:pt x="754380" y="1508760"/>
                      </a:cubicBezTo>
                      <a:cubicBezTo>
                        <a:pt x="338138" y="1508760"/>
                        <a:pt x="0" y="1171575"/>
                        <a:pt x="0" y="754380"/>
                      </a:cubicBezTo>
                      <a:cubicBezTo>
                        <a:pt x="0" y="338138"/>
                        <a:pt x="337185" y="0"/>
                        <a:pt x="754380" y="0"/>
                      </a:cubicBezTo>
                      <a:cubicBezTo>
                        <a:pt x="1171575" y="953"/>
                        <a:pt x="1508760" y="338138"/>
                        <a:pt x="1508760" y="754380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2" name="任意多边形 173"/>
                <p:cNvSpPr/>
                <p:nvPr/>
              </p:nvSpPr>
              <p:spPr>
                <a:xfrm>
                  <a:off x="5205412" y="1026795"/>
                  <a:ext cx="798194" cy="798195"/>
                </a:xfrm>
                <a:custGeom>
                  <a:avLst/>
                  <a:gdLst>
                    <a:gd name="connsiteX0" fmla="*/ 798195 w 798194"/>
                    <a:gd name="connsiteY0" fmla="*/ 399097 h 798195"/>
                    <a:gd name="connsiteX1" fmla="*/ 399097 w 798194"/>
                    <a:gd name="connsiteY1" fmla="*/ 798195 h 798195"/>
                    <a:gd name="connsiteX2" fmla="*/ 0 w 798194"/>
                    <a:gd name="connsiteY2" fmla="*/ 399097 h 798195"/>
                    <a:gd name="connsiteX3" fmla="*/ 399097 w 798194"/>
                    <a:gd name="connsiteY3" fmla="*/ 0 h 798195"/>
                    <a:gd name="connsiteX4" fmla="*/ 798195 w 798194"/>
                    <a:gd name="connsiteY4" fmla="*/ 399097 h 798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98194" h="798195">
                      <a:moveTo>
                        <a:pt x="798195" y="399097"/>
                      </a:moveTo>
                      <a:cubicBezTo>
                        <a:pt x="798195" y="619125"/>
                        <a:pt x="619125" y="798195"/>
                        <a:pt x="399097" y="798195"/>
                      </a:cubicBezTo>
                      <a:cubicBezTo>
                        <a:pt x="179070" y="798195"/>
                        <a:pt x="0" y="619125"/>
                        <a:pt x="0" y="399097"/>
                      </a:cubicBezTo>
                      <a:cubicBezTo>
                        <a:pt x="0" y="179070"/>
                        <a:pt x="179070" y="0"/>
                        <a:pt x="399097" y="0"/>
                      </a:cubicBezTo>
                      <a:cubicBezTo>
                        <a:pt x="619125" y="0"/>
                        <a:pt x="798195" y="179070"/>
                        <a:pt x="798195" y="399097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3" name="任意多边形 174"/>
                <p:cNvSpPr/>
                <p:nvPr/>
              </p:nvSpPr>
              <p:spPr>
                <a:xfrm>
                  <a:off x="6276021" y="1425892"/>
                  <a:ext cx="609600" cy="609600"/>
                </a:xfrm>
                <a:custGeom>
                  <a:avLst/>
                  <a:gdLst>
                    <a:gd name="connsiteX0" fmla="*/ 609600 w 609600"/>
                    <a:gd name="connsiteY0" fmla="*/ 304800 h 609600"/>
                    <a:gd name="connsiteX1" fmla="*/ 304800 w 609600"/>
                    <a:gd name="connsiteY1" fmla="*/ 609600 h 609600"/>
                    <a:gd name="connsiteX2" fmla="*/ 0 w 609600"/>
                    <a:gd name="connsiteY2" fmla="*/ 304800 h 609600"/>
                    <a:gd name="connsiteX3" fmla="*/ 304800 w 609600"/>
                    <a:gd name="connsiteY3" fmla="*/ 0 h 609600"/>
                    <a:gd name="connsiteX4" fmla="*/ 609600 w 609600"/>
                    <a:gd name="connsiteY4" fmla="*/ 304800 h 609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9600" h="609600">
                      <a:moveTo>
                        <a:pt x="609600" y="304800"/>
                      </a:moveTo>
                      <a:cubicBezTo>
                        <a:pt x="609600" y="473392"/>
                        <a:pt x="473393" y="609600"/>
                        <a:pt x="304800" y="609600"/>
                      </a:cubicBezTo>
                      <a:cubicBezTo>
                        <a:pt x="136208" y="609600"/>
                        <a:pt x="0" y="473392"/>
                        <a:pt x="0" y="304800"/>
                      </a:cubicBezTo>
                      <a:cubicBezTo>
                        <a:pt x="0" y="136208"/>
                        <a:pt x="136208" y="0"/>
                        <a:pt x="304800" y="0"/>
                      </a:cubicBezTo>
                      <a:cubicBezTo>
                        <a:pt x="473393" y="0"/>
                        <a:pt x="609600" y="136208"/>
                        <a:pt x="609600" y="30480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4" name="任意多边形 175"/>
                <p:cNvSpPr/>
                <p:nvPr/>
              </p:nvSpPr>
              <p:spPr>
                <a:xfrm>
                  <a:off x="5838824" y="325754"/>
                  <a:ext cx="1003934" cy="1003934"/>
                </a:xfrm>
                <a:custGeom>
                  <a:avLst/>
                  <a:gdLst>
                    <a:gd name="connsiteX0" fmla="*/ 1003935 w 1003934"/>
                    <a:gd name="connsiteY0" fmla="*/ 501968 h 1003934"/>
                    <a:gd name="connsiteX1" fmla="*/ 501968 w 1003934"/>
                    <a:gd name="connsiteY1" fmla="*/ 1003935 h 1003934"/>
                    <a:gd name="connsiteX2" fmla="*/ 0 w 1003934"/>
                    <a:gd name="connsiteY2" fmla="*/ 501968 h 1003934"/>
                    <a:gd name="connsiteX3" fmla="*/ 501968 w 1003934"/>
                    <a:gd name="connsiteY3" fmla="*/ 0 h 1003934"/>
                    <a:gd name="connsiteX4" fmla="*/ 1003935 w 1003934"/>
                    <a:gd name="connsiteY4" fmla="*/ 501968 h 1003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3934" h="1003934">
                      <a:moveTo>
                        <a:pt x="1003935" y="501968"/>
                      </a:moveTo>
                      <a:cubicBezTo>
                        <a:pt x="1003935" y="779145"/>
                        <a:pt x="779145" y="1003935"/>
                        <a:pt x="501968" y="1003935"/>
                      </a:cubicBezTo>
                      <a:cubicBezTo>
                        <a:pt x="224790" y="1003935"/>
                        <a:pt x="0" y="779145"/>
                        <a:pt x="0" y="501968"/>
                      </a:cubicBezTo>
                      <a:cubicBezTo>
                        <a:pt x="0" y="224790"/>
                        <a:pt x="224790" y="0"/>
                        <a:pt x="501968" y="0"/>
                      </a:cubicBezTo>
                      <a:cubicBezTo>
                        <a:pt x="779145" y="0"/>
                        <a:pt x="1003935" y="224790"/>
                        <a:pt x="1003935" y="501968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5" name="任意多边形 176"/>
                <p:cNvSpPr/>
                <p:nvPr/>
              </p:nvSpPr>
              <p:spPr>
                <a:xfrm>
                  <a:off x="6095046" y="1067752"/>
                  <a:ext cx="716280" cy="716280"/>
                </a:xfrm>
                <a:custGeom>
                  <a:avLst/>
                  <a:gdLst>
                    <a:gd name="connsiteX0" fmla="*/ 716280 w 716280"/>
                    <a:gd name="connsiteY0" fmla="*/ 358140 h 716280"/>
                    <a:gd name="connsiteX1" fmla="*/ 358140 w 716280"/>
                    <a:gd name="connsiteY1" fmla="*/ 716280 h 716280"/>
                    <a:gd name="connsiteX2" fmla="*/ 0 w 716280"/>
                    <a:gd name="connsiteY2" fmla="*/ 358140 h 716280"/>
                    <a:gd name="connsiteX3" fmla="*/ 358140 w 716280"/>
                    <a:gd name="connsiteY3" fmla="*/ 0 h 716280"/>
                    <a:gd name="connsiteX4" fmla="*/ 716280 w 716280"/>
                    <a:gd name="connsiteY4" fmla="*/ 358140 h 716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6280" h="716280">
                      <a:moveTo>
                        <a:pt x="716280" y="358140"/>
                      </a:moveTo>
                      <a:cubicBezTo>
                        <a:pt x="716280" y="556260"/>
                        <a:pt x="556260" y="716280"/>
                        <a:pt x="358140" y="716280"/>
                      </a:cubicBezTo>
                      <a:cubicBezTo>
                        <a:pt x="160020" y="716280"/>
                        <a:pt x="0" y="556260"/>
                        <a:pt x="0" y="358140"/>
                      </a:cubicBezTo>
                      <a:cubicBezTo>
                        <a:pt x="0" y="160020"/>
                        <a:pt x="160020" y="0"/>
                        <a:pt x="358140" y="0"/>
                      </a:cubicBezTo>
                      <a:cubicBezTo>
                        <a:pt x="556260" y="0"/>
                        <a:pt x="716280" y="160020"/>
                        <a:pt x="716280" y="35814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" name="任意多边形 177"/>
                <p:cNvSpPr/>
                <p:nvPr/>
              </p:nvSpPr>
              <p:spPr>
                <a:xfrm>
                  <a:off x="5825489" y="1122045"/>
                  <a:ext cx="356234" cy="356234"/>
                </a:xfrm>
                <a:custGeom>
                  <a:avLst/>
                  <a:gdLst>
                    <a:gd name="connsiteX0" fmla="*/ 356235 w 356234"/>
                    <a:gd name="connsiteY0" fmla="*/ 178117 h 356234"/>
                    <a:gd name="connsiteX1" fmla="*/ 178117 w 356234"/>
                    <a:gd name="connsiteY1" fmla="*/ 356235 h 356234"/>
                    <a:gd name="connsiteX2" fmla="*/ 0 w 356234"/>
                    <a:gd name="connsiteY2" fmla="*/ 178117 h 356234"/>
                    <a:gd name="connsiteX3" fmla="*/ 178117 w 356234"/>
                    <a:gd name="connsiteY3" fmla="*/ 0 h 356234"/>
                    <a:gd name="connsiteX4" fmla="*/ 356235 w 356234"/>
                    <a:gd name="connsiteY4" fmla="*/ 178117 h 3562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234" h="356234">
                      <a:moveTo>
                        <a:pt x="356235" y="178117"/>
                      </a:moveTo>
                      <a:cubicBezTo>
                        <a:pt x="356235" y="276225"/>
                        <a:pt x="276225" y="356235"/>
                        <a:pt x="178117" y="356235"/>
                      </a:cubicBezTo>
                      <a:cubicBezTo>
                        <a:pt x="80010" y="356235"/>
                        <a:pt x="0" y="276225"/>
                        <a:pt x="0" y="178117"/>
                      </a:cubicBezTo>
                      <a:cubicBezTo>
                        <a:pt x="0" y="80010"/>
                        <a:pt x="80010" y="0"/>
                        <a:pt x="178117" y="0"/>
                      </a:cubicBezTo>
                      <a:cubicBezTo>
                        <a:pt x="277178" y="0"/>
                        <a:pt x="356235" y="80010"/>
                        <a:pt x="356235" y="178117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7" name="任意多边形 178"/>
                <p:cNvSpPr/>
                <p:nvPr/>
              </p:nvSpPr>
              <p:spPr>
                <a:xfrm>
                  <a:off x="6644639" y="1199197"/>
                  <a:ext cx="419100" cy="419099"/>
                </a:xfrm>
                <a:custGeom>
                  <a:avLst/>
                  <a:gdLst>
                    <a:gd name="connsiteX0" fmla="*/ 419100 w 419100"/>
                    <a:gd name="connsiteY0" fmla="*/ 209550 h 419099"/>
                    <a:gd name="connsiteX1" fmla="*/ 209550 w 419100"/>
                    <a:gd name="connsiteY1" fmla="*/ 419100 h 419099"/>
                    <a:gd name="connsiteX2" fmla="*/ 0 w 419100"/>
                    <a:gd name="connsiteY2" fmla="*/ 209550 h 419099"/>
                    <a:gd name="connsiteX3" fmla="*/ 209550 w 419100"/>
                    <a:gd name="connsiteY3" fmla="*/ 0 h 419099"/>
                    <a:gd name="connsiteX4" fmla="*/ 419100 w 419100"/>
                    <a:gd name="connsiteY4" fmla="*/ 209550 h 419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9100" h="419099">
                      <a:moveTo>
                        <a:pt x="419100" y="209550"/>
                      </a:moveTo>
                      <a:cubicBezTo>
                        <a:pt x="419100" y="325755"/>
                        <a:pt x="324803" y="419100"/>
                        <a:pt x="209550" y="419100"/>
                      </a:cubicBezTo>
                      <a:cubicBezTo>
                        <a:pt x="93345" y="419100"/>
                        <a:pt x="0" y="324803"/>
                        <a:pt x="0" y="209550"/>
                      </a:cubicBezTo>
                      <a:cubicBezTo>
                        <a:pt x="0" y="93345"/>
                        <a:pt x="94297" y="0"/>
                        <a:pt x="209550" y="0"/>
                      </a:cubicBezTo>
                      <a:cubicBezTo>
                        <a:pt x="325755" y="0"/>
                        <a:pt x="419100" y="94298"/>
                        <a:pt x="419100" y="20955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8" name="任意多边形 179"/>
                <p:cNvSpPr/>
                <p:nvPr/>
              </p:nvSpPr>
              <p:spPr>
                <a:xfrm>
                  <a:off x="5653087" y="1349692"/>
                  <a:ext cx="499109" cy="499110"/>
                </a:xfrm>
                <a:custGeom>
                  <a:avLst/>
                  <a:gdLst>
                    <a:gd name="connsiteX0" fmla="*/ 499110 w 499109"/>
                    <a:gd name="connsiteY0" fmla="*/ 249555 h 499110"/>
                    <a:gd name="connsiteX1" fmla="*/ 249555 w 499109"/>
                    <a:gd name="connsiteY1" fmla="*/ 499110 h 499110"/>
                    <a:gd name="connsiteX2" fmla="*/ 0 w 499109"/>
                    <a:gd name="connsiteY2" fmla="*/ 249555 h 499110"/>
                    <a:gd name="connsiteX3" fmla="*/ 249555 w 499109"/>
                    <a:gd name="connsiteY3" fmla="*/ 0 h 499110"/>
                    <a:gd name="connsiteX4" fmla="*/ 499110 w 499109"/>
                    <a:gd name="connsiteY4" fmla="*/ 249555 h 499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9109" h="499110">
                      <a:moveTo>
                        <a:pt x="499110" y="249555"/>
                      </a:moveTo>
                      <a:cubicBezTo>
                        <a:pt x="499110" y="387667"/>
                        <a:pt x="387668" y="499110"/>
                        <a:pt x="249555" y="499110"/>
                      </a:cubicBezTo>
                      <a:cubicBezTo>
                        <a:pt x="111443" y="499110"/>
                        <a:pt x="0" y="387667"/>
                        <a:pt x="0" y="249555"/>
                      </a:cubicBezTo>
                      <a:cubicBezTo>
                        <a:pt x="0" y="111442"/>
                        <a:pt x="111443" y="0"/>
                        <a:pt x="249555" y="0"/>
                      </a:cubicBezTo>
                      <a:cubicBezTo>
                        <a:pt x="386715" y="0"/>
                        <a:pt x="499110" y="111442"/>
                        <a:pt x="499110" y="249555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8" name="组合 7"/>
            <p:cNvGrpSpPr/>
            <p:nvPr/>
          </p:nvGrpSpPr>
          <p:grpSpPr>
            <a:xfrm>
              <a:off x="3252047" y="2196916"/>
              <a:ext cx="995191" cy="2508433"/>
              <a:chOff x="3216962" y="264294"/>
              <a:chExt cx="995191" cy="2508433"/>
            </a:xfrm>
          </p:grpSpPr>
          <p:sp>
            <p:nvSpPr>
              <p:cNvPr id="56" name="任意多边形 183"/>
              <p:cNvSpPr/>
              <p:nvPr/>
            </p:nvSpPr>
            <p:spPr>
              <a:xfrm>
                <a:off x="3281110" y="264294"/>
                <a:ext cx="868010" cy="2011450"/>
              </a:xfrm>
              <a:custGeom>
                <a:avLst/>
                <a:gdLst>
                  <a:gd name="connsiteX0" fmla="*/ 526032 w 868010"/>
                  <a:gd name="connsiteY0" fmla="*/ 1999798 h 2011450"/>
                  <a:gd name="connsiteX1" fmla="*/ 838452 w 868010"/>
                  <a:gd name="connsiteY1" fmla="*/ 1649278 h 2011450"/>
                  <a:gd name="connsiteX2" fmla="*/ 768919 w 868010"/>
                  <a:gd name="connsiteY2" fmla="*/ 172903 h 2011450"/>
                  <a:gd name="connsiteX3" fmla="*/ 105979 w 868010"/>
                  <a:gd name="connsiteY3" fmla="*/ 97656 h 2011450"/>
                  <a:gd name="connsiteX4" fmla="*/ 35495 w 868010"/>
                  <a:gd name="connsiteY4" fmla="*/ 1321618 h 2011450"/>
                  <a:gd name="connsiteX5" fmla="*/ 526032 w 868010"/>
                  <a:gd name="connsiteY5" fmla="*/ 1999798 h 201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8010" h="2011450">
                    <a:moveTo>
                      <a:pt x="526032" y="1999798"/>
                    </a:moveTo>
                    <a:cubicBezTo>
                      <a:pt x="643190" y="1975033"/>
                      <a:pt x="826069" y="1932171"/>
                      <a:pt x="838452" y="1649278"/>
                    </a:cubicBezTo>
                    <a:cubicBezTo>
                      <a:pt x="850835" y="1367338"/>
                      <a:pt x="927987" y="352926"/>
                      <a:pt x="768919" y="172903"/>
                    </a:cubicBezTo>
                    <a:cubicBezTo>
                      <a:pt x="609852" y="-8072"/>
                      <a:pt x="305052" y="-69032"/>
                      <a:pt x="105979" y="97656"/>
                    </a:cubicBezTo>
                    <a:cubicBezTo>
                      <a:pt x="-93093" y="263391"/>
                      <a:pt x="52639" y="1125403"/>
                      <a:pt x="35495" y="1321618"/>
                    </a:cubicBezTo>
                    <a:cubicBezTo>
                      <a:pt x="17397" y="1517833"/>
                      <a:pt x="42162" y="2100763"/>
                      <a:pt x="526032" y="19997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 184"/>
              <p:cNvSpPr/>
              <p:nvPr/>
            </p:nvSpPr>
            <p:spPr>
              <a:xfrm>
                <a:off x="3702315" y="1480537"/>
                <a:ext cx="489368" cy="580319"/>
              </a:xfrm>
              <a:custGeom>
                <a:avLst/>
                <a:gdLst>
                  <a:gd name="connsiteX0" fmla="*/ 230556 w 489368"/>
                  <a:gd name="connsiteY0" fmla="*/ 579720 h 580319"/>
                  <a:gd name="connsiteX1" fmla="*/ 462966 w 489368"/>
                  <a:gd name="connsiteY1" fmla="*/ 432083 h 580319"/>
                  <a:gd name="connsiteX2" fmla="*/ 380099 w 489368"/>
                  <a:gd name="connsiteY2" fmla="*/ 32985 h 580319"/>
                  <a:gd name="connsiteX3" fmla="*/ 21006 w 489368"/>
                  <a:gd name="connsiteY3" fmla="*/ 136808 h 580319"/>
                  <a:gd name="connsiteX4" fmla="*/ 230556 w 489368"/>
                  <a:gd name="connsiteY4" fmla="*/ 579720 h 580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9368" h="580319">
                    <a:moveTo>
                      <a:pt x="230556" y="579720"/>
                    </a:moveTo>
                    <a:cubicBezTo>
                      <a:pt x="335331" y="573053"/>
                      <a:pt x="423914" y="542573"/>
                      <a:pt x="462966" y="432083"/>
                    </a:cubicBezTo>
                    <a:cubicBezTo>
                      <a:pt x="502019" y="321593"/>
                      <a:pt x="514401" y="113948"/>
                      <a:pt x="380099" y="32985"/>
                    </a:cubicBezTo>
                    <a:cubicBezTo>
                      <a:pt x="246749" y="-47977"/>
                      <a:pt x="58154" y="32985"/>
                      <a:pt x="21006" y="136808"/>
                    </a:cubicBezTo>
                    <a:cubicBezTo>
                      <a:pt x="-16141" y="241583"/>
                      <a:pt x="-33286" y="596865"/>
                      <a:pt x="230556" y="57972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 185"/>
              <p:cNvSpPr/>
              <p:nvPr/>
            </p:nvSpPr>
            <p:spPr>
              <a:xfrm>
                <a:off x="3653789" y="948689"/>
                <a:ext cx="150495" cy="1824037"/>
              </a:xfrm>
              <a:custGeom>
                <a:avLst/>
                <a:gdLst>
                  <a:gd name="connsiteX0" fmla="*/ 150495 w 150495"/>
                  <a:gd name="connsiteY0" fmla="*/ 1824038 h 1824037"/>
                  <a:gd name="connsiteX1" fmla="*/ 0 w 150495"/>
                  <a:gd name="connsiteY1" fmla="*/ 1824038 h 1824037"/>
                  <a:gd name="connsiteX2" fmla="*/ 51435 w 150495"/>
                  <a:gd name="connsiteY2" fmla="*/ 0 h 1824037"/>
                  <a:gd name="connsiteX3" fmla="*/ 99060 w 150495"/>
                  <a:gd name="connsiteY3" fmla="*/ 0 h 1824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495" h="1824037">
                    <a:moveTo>
                      <a:pt x="150495" y="1824038"/>
                    </a:moveTo>
                    <a:lnTo>
                      <a:pt x="0" y="1824038"/>
                    </a:lnTo>
                    <a:lnTo>
                      <a:pt x="51435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 186"/>
              <p:cNvSpPr/>
              <p:nvPr/>
            </p:nvSpPr>
            <p:spPr>
              <a:xfrm>
                <a:off x="3443804" y="838200"/>
                <a:ext cx="284279" cy="289560"/>
              </a:xfrm>
              <a:custGeom>
                <a:avLst/>
                <a:gdLst>
                  <a:gd name="connsiteX0" fmla="*/ 284280 w 284279"/>
                  <a:gd name="connsiteY0" fmla="*/ 235267 h 289560"/>
                  <a:gd name="connsiteX1" fmla="*/ 64252 w 284279"/>
                  <a:gd name="connsiteY1" fmla="*/ 0 h 289560"/>
                  <a:gd name="connsiteX2" fmla="*/ 435 w 284279"/>
                  <a:gd name="connsiteY2" fmla="*/ 20002 h 289560"/>
                  <a:gd name="connsiteX3" fmla="*/ 281422 w 284279"/>
                  <a:gd name="connsiteY3" fmla="*/ 289560 h 289560"/>
                  <a:gd name="connsiteX4" fmla="*/ 284280 w 284279"/>
                  <a:gd name="connsiteY4" fmla="*/ 235267 h 289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60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 187"/>
              <p:cNvSpPr/>
              <p:nvPr/>
            </p:nvSpPr>
            <p:spPr>
              <a:xfrm>
                <a:off x="3443804" y="1560195"/>
                <a:ext cx="284279" cy="289559"/>
              </a:xfrm>
              <a:custGeom>
                <a:avLst/>
                <a:gdLst>
                  <a:gd name="connsiteX0" fmla="*/ 284280 w 284279"/>
                  <a:gd name="connsiteY0" fmla="*/ 235267 h 289559"/>
                  <a:gd name="connsiteX1" fmla="*/ 64252 w 284279"/>
                  <a:gd name="connsiteY1" fmla="*/ 0 h 289559"/>
                  <a:gd name="connsiteX2" fmla="*/ 435 w 284279"/>
                  <a:gd name="connsiteY2" fmla="*/ 20002 h 289559"/>
                  <a:gd name="connsiteX3" fmla="*/ 281422 w 284279"/>
                  <a:gd name="connsiteY3" fmla="*/ 289560 h 289559"/>
                  <a:gd name="connsiteX4" fmla="*/ 284280 w 284279"/>
                  <a:gd name="connsiteY4" fmla="*/ 235267 h 289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59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 188"/>
              <p:cNvSpPr/>
              <p:nvPr/>
            </p:nvSpPr>
            <p:spPr>
              <a:xfrm>
                <a:off x="3724274" y="1116329"/>
                <a:ext cx="317182" cy="255270"/>
              </a:xfrm>
              <a:custGeom>
                <a:avLst/>
                <a:gdLst>
                  <a:gd name="connsiteX0" fmla="*/ 5715 w 317182"/>
                  <a:gd name="connsiteY0" fmla="*/ 200978 h 255270"/>
                  <a:gd name="connsiteX1" fmla="*/ 257175 w 317182"/>
                  <a:gd name="connsiteY1" fmla="*/ 0 h 255270"/>
                  <a:gd name="connsiteX2" fmla="*/ 317183 w 317182"/>
                  <a:gd name="connsiteY2" fmla="*/ 29528 h 255270"/>
                  <a:gd name="connsiteX3" fmla="*/ 0 w 317182"/>
                  <a:gd name="connsiteY3" fmla="*/ 255270 h 255270"/>
                  <a:gd name="connsiteX4" fmla="*/ 5715 w 317182"/>
                  <a:gd name="connsiteY4" fmla="*/ 200978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7182" h="255270">
                    <a:moveTo>
                      <a:pt x="5715" y="200978"/>
                    </a:moveTo>
                    <a:cubicBezTo>
                      <a:pt x="5715" y="200978"/>
                      <a:pt x="255270" y="248603"/>
                      <a:pt x="257175" y="0"/>
                    </a:cubicBezTo>
                    <a:lnTo>
                      <a:pt x="317183" y="29528"/>
                    </a:lnTo>
                    <a:cubicBezTo>
                      <a:pt x="317183" y="29528"/>
                      <a:pt x="308610" y="252413"/>
                      <a:pt x="0" y="255270"/>
                    </a:cubicBezTo>
                    <a:lnTo>
                      <a:pt x="5715" y="2009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 189"/>
              <p:cNvSpPr/>
              <p:nvPr/>
            </p:nvSpPr>
            <p:spPr>
              <a:xfrm>
                <a:off x="3741419" y="1302067"/>
                <a:ext cx="199239" cy="294322"/>
              </a:xfrm>
              <a:custGeom>
                <a:avLst/>
                <a:gdLst>
                  <a:gd name="connsiteX0" fmla="*/ 0 w 199239"/>
                  <a:gd name="connsiteY0" fmla="*/ 239078 h 294322"/>
                  <a:gd name="connsiteX1" fmla="*/ 155257 w 199239"/>
                  <a:gd name="connsiteY1" fmla="*/ 953 h 294322"/>
                  <a:gd name="connsiteX2" fmla="*/ 199072 w 199239"/>
                  <a:gd name="connsiteY2" fmla="*/ 0 h 294322"/>
                  <a:gd name="connsiteX3" fmla="*/ 952 w 199239"/>
                  <a:gd name="connsiteY3" fmla="*/ 294323 h 294322"/>
                  <a:gd name="connsiteX4" fmla="*/ 0 w 199239"/>
                  <a:gd name="connsiteY4" fmla="*/ 239078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8"/>
                    </a:moveTo>
                    <a:cubicBezTo>
                      <a:pt x="0" y="239078"/>
                      <a:pt x="175260" y="245745"/>
                      <a:pt x="155257" y="953"/>
                    </a:cubicBezTo>
                    <a:lnTo>
                      <a:pt x="199072" y="0"/>
                    </a:lnTo>
                    <a:cubicBezTo>
                      <a:pt x="199072" y="0"/>
                      <a:pt x="212408" y="240983"/>
                      <a:pt x="952" y="294323"/>
                    </a:cubicBezTo>
                    <a:lnTo>
                      <a:pt x="0" y="2390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 190"/>
              <p:cNvSpPr/>
              <p:nvPr/>
            </p:nvSpPr>
            <p:spPr>
              <a:xfrm>
                <a:off x="3741419" y="1663065"/>
                <a:ext cx="199239" cy="294322"/>
              </a:xfrm>
              <a:custGeom>
                <a:avLst/>
                <a:gdLst>
                  <a:gd name="connsiteX0" fmla="*/ 0 w 199239"/>
                  <a:gd name="connsiteY0" fmla="*/ 239077 h 294322"/>
                  <a:gd name="connsiteX1" fmla="*/ 155257 w 199239"/>
                  <a:gd name="connsiteY1" fmla="*/ 952 h 294322"/>
                  <a:gd name="connsiteX2" fmla="*/ 199072 w 199239"/>
                  <a:gd name="connsiteY2" fmla="*/ 0 h 294322"/>
                  <a:gd name="connsiteX3" fmla="*/ 952 w 199239"/>
                  <a:gd name="connsiteY3" fmla="*/ 294322 h 294322"/>
                  <a:gd name="connsiteX4" fmla="*/ 0 w 199239"/>
                  <a:gd name="connsiteY4" fmla="*/ 239077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7"/>
                    </a:moveTo>
                    <a:cubicBezTo>
                      <a:pt x="0" y="239077"/>
                      <a:pt x="175260" y="245745"/>
                      <a:pt x="155257" y="952"/>
                    </a:cubicBezTo>
                    <a:lnTo>
                      <a:pt x="199072" y="0"/>
                    </a:lnTo>
                    <a:cubicBezTo>
                      <a:pt x="199072" y="0"/>
                      <a:pt x="212408" y="240982"/>
                      <a:pt x="952" y="294322"/>
                    </a:cubicBezTo>
                    <a:lnTo>
                      <a:pt x="0" y="23907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 191"/>
              <p:cNvSpPr/>
              <p:nvPr/>
            </p:nvSpPr>
            <p:spPr>
              <a:xfrm>
                <a:off x="3216962" y="326204"/>
                <a:ext cx="488947" cy="660283"/>
              </a:xfrm>
              <a:custGeom>
                <a:avLst/>
                <a:gdLst>
                  <a:gd name="connsiteX0" fmla="*/ 230135 w 488947"/>
                  <a:gd name="connsiteY0" fmla="*/ 659633 h 660283"/>
                  <a:gd name="connsiteX1" fmla="*/ 462545 w 488947"/>
                  <a:gd name="connsiteY1" fmla="*/ 491993 h 660283"/>
                  <a:gd name="connsiteX2" fmla="*/ 379677 w 488947"/>
                  <a:gd name="connsiteY2" fmla="*/ 37650 h 660283"/>
                  <a:gd name="connsiteX3" fmla="*/ 20585 w 488947"/>
                  <a:gd name="connsiteY3" fmla="*/ 155760 h 660283"/>
                  <a:gd name="connsiteX4" fmla="*/ 230135 w 488947"/>
                  <a:gd name="connsiteY4" fmla="*/ 659633 h 660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8947" h="660283">
                    <a:moveTo>
                      <a:pt x="230135" y="659633"/>
                    </a:moveTo>
                    <a:cubicBezTo>
                      <a:pt x="334910" y="652013"/>
                      <a:pt x="423492" y="617723"/>
                      <a:pt x="462545" y="491993"/>
                    </a:cubicBezTo>
                    <a:cubicBezTo>
                      <a:pt x="501597" y="366263"/>
                      <a:pt x="513980" y="130043"/>
                      <a:pt x="379677" y="37650"/>
                    </a:cubicBezTo>
                    <a:cubicBezTo>
                      <a:pt x="246327" y="-54742"/>
                      <a:pt x="57732" y="37650"/>
                      <a:pt x="20585" y="155760"/>
                    </a:cubicBezTo>
                    <a:cubicBezTo>
                      <a:pt x="-15610" y="273870"/>
                      <a:pt x="-33708" y="678683"/>
                      <a:pt x="230135" y="659633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 192"/>
              <p:cNvSpPr/>
              <p:nvPr/>
            </p:nvSpPr>
            <p:spPr>
              <a:xfrm>
                <a:off x="3871574" y="708915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 193"/>
              <p:cNvSpPr/>
              <p:nvPr/>
            </p:nvSpPr>
            <p:spPr>
              <a:xfrm>
                <a:off x="3242924" y="1171830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4118451" y="4450079"/>
              <a:ext cx="707707" cy="256222"/>
              <a:chOff x="4083366" y="2517457"/>
              <a:chExt cx="707707" cy="256222"/>
            </a:xfrm>
          </p:grpSpPr>
          <p:sp>
            <p:nvSpPr>
              <p:cNvPr id="52" name="任意多边形 196"/>
              <p:cNvSpPr/>
              <p:nvPr/>
            </p:nvSpPr>
            <p:spPr>
              <a:xfrm>
                <a:off x="4195762" y="2517457"/>
                <a:ext cx="510540" cy="255270"/>
              </a:xfrm>
              <a:custGeom>
                <a:avLst/>
                <a:gdLst>
                  <a:gd name="connsiteX0" fmla="*/ 255270 w 510540"/>
                  <a:gd name="connsiteY0" fmla="*/ 0 h 255270"/>
                  <a:gd name="connsiteX1" fmla="*/ 0 w 510540"/>
                  <a:gd name="connsiteY1" fmla="*/ 255270 h 255270"/>
                  <a:gd name="connsiteX2" fmla="*/ 510540 w 510540"/>
                  <a:gd name="connsiteY2" fmla="*/ 255270 h 255270"/>
                  <a:gd name="connsiteX3" fmla="*/ 255270 w 510540"/>
                  <a:gd name="connsiteY3" fmla="*/ 0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0540" h="255270">
                    <a:moveTo>
                      <a:pt x="255270" y="0"/>
                    </a:moveTo>
                    <a:cubicBezTo>
                      <a:pt x="114300" y="0"/>
                      <a:pt x="0" y="114300"/>
                      <a:pt x="0" y="255270"/>
                    </a:cubicBezTo>
                    <a:lnTo>
                      <a:pt x="510540" y="255270"/>
                    </a:lnTo>
                    <a:cubicBezTo>
                      <a:pt x="510540" y="114300"/>
                      <a:pt x="396240" y="0"/>
                      <a:pt x="255270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 197"/>
              <p:cNvSpPr/>
              <p:nvPr/>
            </p:nvSpPr>
            <p:spPr>
              <a:xfrm>
                <a:off x="4083366" y="2619375"/>
                <a:ext cx="307657" cy="154305"/>
              </a:xfrm>
              <a:custGeom>
                <a:avLst/>
                <a:gdLst>
                  <a:gd name="connsiteX0" fmla="*/ 154305 w 307657"/>
                  <a:gd name="connsiteY0" fmla="*/ 0 h 154305"/>
                  <a:gd name="connsiteX1" fmla="*/ 0 w 307657"/>
                  <a:gd name="connsiteY1" fmla="*/ 154305 h 154305"/>
                  <a:gd name="connsiteX2" fmla="*/ 307658 w 307657"/>
                  <a:gd name="connsiteY2" fmla="*/ 154305 h 154305"/>
                  <a:gd name="connsiteX3" fmla="*/ 154305 w 307657"/>
                  <a:gd name="connsiteY3" fmla="*/ 0 h 154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7657" h="154305">
                    <a:moveTo>
                      <a:pt x="154305" y="0"/>
                    </a:moveTo>
                    <a:cubicBezTo>
                      <a:pt x="69533" y="0"/>
                      <a:pt x="0" y="68580"/>
                      <a:pt x="0" y="154305"/>
                    </a:cubicBezTo>
                    <a:lnTo>
                      <a:pt x="307658" y="154305"/>
                    </a:lnTo>
                    <a:cubicBezTo>
                      <a:pt x="307658" y="68580"/>
                      <a:pt x="239078" y="0"/>
                      <a:pt x="15430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 198"/>
              <p:cNvSpPr/>
              <p:nvPr/>
            </p:nvSpPr>
            <p:spPr>
              <a:xfrm>
                <a:off x="4277677" y="2664142"/>
                <a:ext cx="217169" cy="108584"/>
              </a:xfrm>
              <a:custGeom>
                <a:avLst/>
                <a:gdLst>
                  <a:gd name="connsiteX0" fmla="*/ 108585 w 217169"/>
                  <a:gd name="connsiteY0" fmla="*/ 0 h 108584"/>
                  <a:gd name="connsiteX1" fmla="*/ 0 w 217169"/>
                  <a:gd name="connsiteY1" fmla="*/ 108585 h 108584"/>
                  <a:gd name="connsiteX2" fmla="*/ 217170 w 217169"/>
                  <a:gd name="connsiteY2" fmla="*/ 108585 h 108584"/>
                  <a:gd name="connsiteX3" fmla="*/ 108585 w 217169"/>
                  <a:gd name="connsiteY3" fmla="*/ 0 h 108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7169" h="108584">
                    <a:moveTo>
                      <a:pt x="108585" y="0"/>
                    </a:moveTo>
                    <a:cubicBezTo>
                      <a:pt x="48577" y="0"/>
                      <a:pt x="0" y="48577"/>
                      <a:pt x="0" y="108585"/>
                    </a:cubicBezTo>
                    <a:lnTo>
                      <a:pt x="217170" y="108585"/>
                    </a:lnTo>
                    <a:cubicBezTo>
                      <a:pt x="217170" y="48577"/>
                      <a:pt x="168592" y="0"/>
                      <a:pt x="10858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 199"/>
              <p:cNvSpPr/>
              <p:nvPr/>
            </p:nvSpPr>
            <p:spPr>
              <a:xfrm>
                <a:off x="4589144" y="2671762"/>
                <a:ext cx="201929" cy="100965"/>
              </a:xfrm>
              <a:custGeom>
                <a:avLst/>
                <a:gdLst>
                  <a:gd name="connsiteX0" fmla="*/ 100965 w 201929"/>
                  <a:gd name="connsiteY0" fmla="*/ 0 h 100965"/>
                  <a:gd name="connsiteX1" fmla="*/ 0 w 201929"/>
                  <a:gd name="connsiteY1" fmla="*/ 100965 h 100965"/>
                  <a:gd name="connsiteX2" fmla="*/ 201930 w 201929"/>
                  <a:gd name="connsiteY2" fmla="*/ 100965 h 100965"/>
                  <a:gd name="connsiteX3" fmla="*/ 100965 w 201929"/>
                  <a:gd name="connsiteY3" fmla="*/ 0 h 100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1929" h="100965">
                    <a:moveTo>
                      <a:pt x="100965" y="0"/>
                    </a:moveTo>
                    <a:cubicBezTo>
                      <a:pt x="45720" y="0"/>
                      <a:pt x="0" y="44768"/>
                      <a:pt x="0" y="100965"/>
                    </a:cubicBezTo>
                    <a:lnTo>
                      <a:pt x="201930" y="100965"/>
                    </a:lnTo>
                    <a:cubicBezTo>
                      <a:pt x="201930" y="45720"/>
                      <a:pt x="157163" y="0"/>
                      <a:pt x="100965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7536022" y="4531994"/>
              <a:ext cx="482917" cy="174307"/>
              <a:chOff x="7500937" y="2599372"/>
              <a:chExt cx="482917" cy="174307"/>
            </a:xfrm>
          </p:grpSpPr>
          <p:sp>
            <p:nvSpPr>
              <p:cNvPr id="48" name="任意多边形 201"/>
              <p:cNvSpPr/>
              <p:nvPr/>
            </p:nvSpPr>
            <p:spPr>
              <a:xfrm>
                <a:off x="7578089" y="2599372"/>
                <a:ext cx="347662" cy="174307"/>
              </a:xfrm>
              <a:custGeom>
                <a:avLst/>
                <a:gdLst>
                  <a:gd name="connsiteX0" fmla="*/ 174308 w 347662"/>
                  <a:gd name="connsiteY0" fmla="*/ 0 h 174307"/>
                  <a:gd name="connsiteX1" fmla="*/ 0 w 347662"/>
                  <a:gd name="connsiteY1" fmla="*/ 174308 h 174307"/>
                  <a:gd name="connsiteX2" fmla="*/ 347662 w 347662"/>
                  <a:gd name="connsiteY2" fmla="*/ 174308 h 174307"/>
                  <a:gd name="connsiteX3" fmla="*/ 174308 w 347662"/>
                  <a:gd name="connsiteY3" fmla="*/ 0 h 17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7662" h="174307">
                    <a:moveTo>
                      <a:pt x="174308" y="0"/>
                    </a:moveTo>
                    <a:cubicBezTo>
                      <a:pt x="78105" y="0"/>
                      <a:pt x="0" y="78105"/>
                      <a:pt x="0" y="174308"/>
                    </a:cubicBezTo>
                    <a:lnTo>
                      <a:pt x="347662" y="174308"/>
                    </a:lnTo>
                    <a:cubicBezTo>
                      <a:pt x="347662" y="77153"/>
                      <a:pt x="269558" y="0"/>
                      <a:pt x="174308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 202"/>
              <p:cNvSpPr/>
              <p:nvPr/>
            </p:nvSpPr>
            <p:spPr>
              <a:xfrm>
                <a:off x="7500937" y="2667952"/>
                <a:ext cx="209550" cy="104775"/>
              </a:xfrm>
              <a:custGeom>
                <a:avLst/>
                <a:gdLst>
                  <a:gd name="connsiteX0" fmla="*/ 104775 w 209550"/>
                  <a:gd name="connsiteY0" fmla="*/ 0 h 104775"/>
                  <a:gd name="connsiteX1" fmla="*/ 0 w 209550"/>
                  <a:gd name="connsiteY1" fmla="*/ 104775 h 104775"/>
                  <a:gd name="connsiteX2" fmla="*/ 209550 w 209550"/>
                  <a:gd name="connsiteY2" fmla="*/ 104775 h 104775"/>
                  <a:gd name="connsiteX3" fmla="*/ 104775 w 209550"/>
                  <a:gd name="connsiteY3" fmla="*/ 0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50" h="104775">
                    <a:moveTo>
                      <a:pt x="104775" y="0"/>
                    </a:moveTo>
                    <a:cubicBezTo>
                      <a:pt x="46672" y="0"/>
                      <a:pt x="0" y="46672"/>
                      <a:pt x="0" y="104775"/>
                    </a:cubicBezTo>
                    <a:lnTo>
                      <a:pt x="209550" y="104775"/>
                    </a:lnTo>
                    <a:cubicBezTo>
                      <a:pt x="209550" y="47625"/>
                      <a:pt x="162877" y="0"/>
                      <a:pt x="10477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 203"/>
              <p:cNvSpPr/>
              <p:nvPr/>
            </p:nvSpPr>
            <p:spPr>
              <a:xfrm>
                <a:off x="7633334" y="2699384"/>
                <a:ext cx="147637" cy="74295"/>
              </a:xfrm>
              <a:custGeom>
                <a:avLst/>
                <a:gdLst>
                  <a:gd name="connsiteX0" fmla="*/ 74295 w 147637"/>
                  <a:gd name="connsiteY0" fmla="*/ 0 h 74295"/>
                  <a:gd name="connsiteX1" fmla="*/ 0 w 147637"/>
                  <a:gd name="connsiteY1" fmla="*/ 74295 h 74295"/>
                  <a:gd name="connsiteX2" fmla="*/ 147638 w 147637"/>
                  <a:gd name="connsiteY2" fmla="*/ 74295 h 74295"/>
                  <a:gd name="connsiteX3" fmla="*/ 74295 w 147637"/>
                  <a:gd name="connsiteY3" fmla="*/ 0 h 74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7637" h="74295">
                    <a:moveTo>
                      <a:pt x="74295" y="0"/>
                    </a:moveTo>
                    <a:cubicBezTo>
                      <a:pt x="33338" y="0"/>
                      <a:pt x="0" y="33338"/>
                      <a:pt x="0" y="74295"/>
                    </a:cubicBezTo>
                    <a:lnTo>
                      <a:pt x="147638" y="74295"/>
                    </a:lnTo>
                    <a:cubicBezTo>
                      <a:pt x="147638" y="32385"/>
                      <a:pt x="115252" y="0"/>
                      <a:pt x="7429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 204"/>
              <p:cNvSpPr/>
              <p:nvPr/>
            </p:nvSpPr>
            <p:spPr>
              <a:xfrm>
                <a:off x="7846694" y="2704147"/>
                <a:ext cx="137160" cy="68580"/>
              </a:xfrm>
              <a:custGeom>
                <a:avLst/>
                <a:gdLst>
                  <a:gd name="connsiteX0" fmla="*/ 68580 w 137160"/>
                  <a:gd name="connsiteY0" fmla="*/ 0 h 68580"/>
                  <a:gd name="connsiteX1" fmla="*/ 0 w 137160"/>
                  <a:gd name="connsiteY1" fmla="*/ 68580 h 68580"/>
                  <a:gd name="connsiteX2" fmla="*/ 137160 w 137160"/>
                  <a:gd name="connsiteY2" fmla="*/ 68580 h 68580"/>
                  <a:gd name="connsiteX3" fmla="*/ 68580 w 137160"/>
                  <a:gd name="connsiteY3" fmla="*/ 0 h 68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160" h="68580">
                    <a:moveTo>
                      <a:pt x="68580" y="0"/>
                    </a:moveTo>
                    <a:cubicBezTo>
                      <a:pt x="30480" y="0"/>
                      <a:pt x="0" y="30480"/>
                      <a:pt x="0" y="68580"/>
                    </a:cubicBezTo>
                    <a:lnTo>
                      <a:pt x="137160" y="68580"/>
                    </a:lnTo>
                    <a:cubicBezTo>
                      <a:pt x="137160" y="30480"/>
                      <a:pt x="105728" y="0"/>
                      <a:pt x="6858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4761389" y="3611879"/>
              <a:ext cx="647700" cy="1093470"/>
              <a:chOff x="4726304" y="1679257"/>
              <a:chExt cx="647700" cy="1093470"/>
            </a:xfrm>
          </p:grpSpPr>
          <p:sp>
            <p:nvSpPr>
              <p:cNvPr id="44" name="任意多边形 207"/>
              <p:cNvSpPr/>
              <p:nvPr/>
            </p:nvSpPr>
            <p:spPr>
              <a:xfrm>
                <a:off x="5007291" y="2360295"/>
                <a:ext cx="85725" cy="412432"/>
              </a:xfrm>
              <a:custGeom>
                <a:avLst/>
                <a:gdLst>
                  <a:gd name="connsiteX0" fmla="*/ 0 w 85725"/>
                  <a:gd name="connsiteY0" fmla="*/ 412433 h 412432"/>
                  <a:gd name="connsiteX1" fmla="*/ 85725 w 85725"/>
                  <a:gd name="connsiteY1" fmla="*/ 412433 h 412432"/>
                  <a:gd name="connsiteX2" fmla="*/ 75248 w 85725"/>
                  <a:gd name="connsiteY2" fmla="*/ 0 h 412432"/>
                  <a:gd name="connsiteX3" fmla="*/ 15240 w 85725"/>
                  <a:gd name="connsiteY3" fmla="*/ 0 h 412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5" h="412432">
                    <a:moveTo>
                      <a:pt x="0" y="412433"/>
                    </a:moveTo>
                    <a:lnTo>
                      <a:pt x="85725" y="412433"/>
                    </a:lnTo>
                    <a:lnTo>
                      <a:pt x="75248" y="0"/>
                    </a:lnTo>
                    <a:lnTo>
                      <a:pt x="1524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 208"/>
              <p:cNvSpPr/>
              <p:nvPr/>
            </p:nvSpPr>
            <p:spPr>
              <a:xfrm>
                <a:off x="5028246" y="2368867"/>
                <a:ext cx="172031" cy="227647"/>
              </a:xfrm>
              <a:custGeom>
                <a:avLst/>
                <a:gdLst>
                  <a:gd name="connsiteX0" fmla="*/ 953 w 172031"/>
                  <a:gd name="connsiteY0" fmla="*/ 180023 h 227647"/>
                  <a:gd name="connsiteX1" fmla="*/ 125730 w 172031"/>
                  <a:gd name="connsiteY1" fmla="*/ 0 h 227647"/>
                  <a:gd name="connsiteX2" fmla="*/ 170497 w 172031"/>
                  <a:gd name="connsiteY2" fmla="*/ 7620 h 227647"/>
                  <a:gd name="connsiteX3" fmla="*/ 0 w 172031"/>
                  <a:gd name="connsiteY3" fmla="*/ 227648 h 227647"/>
                  <a:gd name="connsiteX4" fmla="*/ 953 w 172031"/>
                  <a:gd name="connsiteY4" fmla="*/ 180023 h 227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2031" h="227647">
                    <a:moveTo>
                      <a:pt x="953" y="180023"/>
                    </a:moveTo>
                    <a:cubicBezTo>
                      <a:pt x="953" y="180023"/>
                      <a:pt x="172403" y="161925"/>
                      <a:pt x="125730" y="0"/>
                    </a:cubicBezTo>
                    <a:lnTo>
                      <a:pt x="170497" y="7620"/>
                    </a:lnTo>
                    <a:cubicBezTo>
                      <a:pt x="170497" y="7620"/>
                      <a:pt x="200025" y="164783"/>
                      <a:pt x="0" y="227648"/>
                    </a:cubicBezTo>
                    <a:lnTo>
                      <a:pt x="953" y="180023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 209"/>
              <p:cNvSpPr/>
              <p:nvPr/>
            </p:nvSpPr>
            <p:spPr>
              <a:xfrm>
                <a:off x="4907258" y="2329815"/>
                <a:ext cx="142896" cy="184784"/>
              </a:xfrm>
              <a:custGeom>
                <a:avLst/>
                <a:gdLst>
                  <a:gd name="connsiteX0" fmla="*/ 36216 w 142896"/>
                  <a:gd name="connsiteY0" fmla="*/ 12382 h 184784"/>
                  <a:gd name="connsiteX1" fmla="*/ 142896 w 142896"/>
                  <a:gd name="connsiteY1" fmla="*/ 152400 h 184784"/>
                  <a:gd name="connsiteX2" fmla="*/ 125751 w 142896"/>
                  <a:gd name="connsiteY2" fmla="*/ 184785 h 184784"/>
                  <a:gd name="connsiteX3" fmla="*/ 21 w 142896"/>
                  <a:gd name="connsiteY3" fmla="*/ 0 h 184784"/>
                  <a:gd name="connsiteX4" fmla="*/ 36216 w 142896"/>
                  <a:gd name="connsiteY4" fmla="*/ 12382 h 184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896" h="184784">
                    <a:moveTo>
                      <a:pt x="36216" y="12382"/>
                    </a:moveTo>
                    <a:cubicBezTo>
                      <a:pt x="36216" y="12382"/>
                      <a:pt x="7641" y="148590"/>
                      <a:pt x="142896" y="152400"/>
                    </a:cubicBezTo>
                    <a:lnTo>
                      <a:pt x="125751" y="184785"/>
                    </a:lnTo>
                    <a:cubicBezTo>
                      <a:pt x="125751" y="184785"/>
                      <a:pt x="-1884" y="168592"/>
                      <a:pt x="21" y="0"/>
                    </a:cubicBezTo>
                    <a:lnTo>
                      <a:pt x="36216" y="12382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 210"/>
              <p:cNvSpPr/>
              <p:nvPr/>
            </p:nvSpPr>
            <p:spPr>
              <a:xfrm>
                <a:off x="4726304" y="1679257"/>
                <a:ext cx="647700" cy="770572"/>
              </a:xfrm>
              <a:custGeom>
                <a:avLst/>
                <a:gdLst>
                  <a:gd name="connsiteX0" fmla="*/ 647700 w 647700"/>
                  <a:gd name="connsiteY0" fmla="*/ 425767 h 770572"/>
                  <a:gd name="connsiteX1" fmla="*/ 323850 w 647700"/>
                  <a:gd name="connsiteY1" fmla="*/ 770572 h 770572"/>
                  <a:gd name="connsiteX2" fmla="*/ 0 w 647700"/>
                  <a:gd name="connsiteY2" fmla="*/ 425767 h 770572"/>
                  <a:gd name="connsiteX3" fmla="*/ 323850 w 647700"/>
                  <a:gd name="connsiteY3" fmla="*/ 0 h 770572"/>
                  <a:gd name="connsiteX4" fmla="*/ 647700 w 647700"/>
                  <a:gd name="connsiteY4" fmla="*/ 425767 h 770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7700" h="770572">
                    <a:moveTo>
                      <a:pt x="647700" y="425767"/>
                    </a:moveTo>
                    <a:cubicBezTo>
                      <a:pt x="647700" y="661035"/>
                      <a:pt x="502920" y="770572"/>
                      <a:pt x="323850" y="770572"/>
                    </a:cubicBezTo>
                    <a:cubicBezTo>
                      <a:pt x="144780" y="770572"/>
                      <a:pt x="0" y="661988"/>
                      <a:pt x="0" y="425767"/>
                    </a:cubicBezTo>
                    <a:cubicBezTo>
                      <a:pt x="0" y="190500"/>
                      <a:pt x="144780" y="0"/>
                      <a:pt x="323850" y="0"/>
                    </a:cubicBezTo>
                    <a:cubicBezTo>
                      <a:pt x="502920" y="0"/>
                      <a:pt x="647700" y="190500"/>
                      <a:pt x="647700" y="425767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" name="组合 11"/>
            <p:cNvGrpSpPr/>
            <p:nvPr/>
          </p:nvGrpSpPr>
          <p:grpSpPr>
            <a:xfrm>
              <a:off x="6647339" y="4319587"/>
              <a:ext cx="757237" cy="386715"/>
              <a:chOff x="6612254" y="2386965"/>
              <a:chExt cx="757237" cy="386715"/>
            </a:xfrm>
          </p:grpSpPr>
          <p:sp>
            <p:nvSpPr>
              <p:cNvPr id="40" name="任意多边形 213"/>
              <p:cNvSpPr/>
              <p:nvPr/>
            </p:nvSpPr>
            <p:spPr>
              <a:xfrm>
                <a:off x="6612254" y="2611754"/>
                <a:ext cx="181927" cy="160972"/>
              </a:xfrm>
              <a:custGeom>
                <a:avLst/>
                <a:gdLst>
                  <a:gd name="connsiteX0" fmla="*/ 181927 w 181927"/>
                  <a:gd name="connsiteY0" fmla="*/ 18098 h 160972"/>
                  <a:gd name="connsiteX1" fmla="*/ 178117 w 181927"/>
                  <a:gd name="connsiteY1" fmla="*/ 4763 h 160972"/>
                  <a:gd name="connsiteX2" fmla="*/ 147638 w 181927"/>
                  <a:gd name="connsiteY2" fmla="*/ 0 h 160972"/>
                  <a:gd name="connsiteX3" fmla="*/ 0 w 181927"/>
                  <a:gd name="connsiteY3" fmla="*/ 160973 h 160972"/>
                  <a:gd name="connsiteX4" fmla="*/ 87630 w 181927"/>
                  <a:gd name="connsiteY4" fmla="*/ 160973 h 160972"/>
                  <a:gd name="connsiteX5" fmla="*/ 181927 w 181927"/>
                  <a:gd name="connsiteY5" fmla="*/ 18098 h 160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1927" h="160972">
                    <a:moveTo>
                      <a:pt x="181927" y="18098"/>
                    </a:moveTo>
                    <a:cubicBezTo>
                      <a:pt x="180975" y="14288"/>
                      <a:pt x="179070" y="9525"/>
                      <a:pt x="178117" y="4763"/>
                    </a:cubicBezTo>
                    <a:cubicBezTo>
                      <a:pt x="168592" y="1905"/>
                      <a:pt x="158115" y="0"/>
                      <a:pt x="147638" y="0"/>
                    </a:cubicBezTo>
                    <a:cubicBezTo>
                      <a:pt x="79057" y="0"/>
                      <a:pt x="20002" y="67627"/>
                      <a:pt x="0" y="160973"/>
                    </a:cubicBezTo>
                    <a:lnTo>
                      <a:pt x="87630" y="160973"/>
                    </a:lnTo>
                    <a:cubicBezTo>
                      <a:pt x="112395" y="103823"/>
                      <a:pt x="144780" y="55245"/>
                      <a:pt x="181927" y="180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 214"/>
              <p:cNvSpPr/>
              <p:nvPr/>
            </p:nvSpPr>
            <p:spPr>
              <a:xfrm>
                <a:off x="6781799" y="2386965"/>
                <a:ext cx="313372" cy="340994"/>
              </a:xfrm>
              <a:custGeom>
                <a:avLst/>
                <a:gdLst>
                  <a:gd name="connsiteX0" fmla="*/ 170497 w 313372"/>
                  <a:gd name="connsiteY0" fmla="*/ 262890 h 340994"/>
                  <a:gd name="connsiteX1" fmla="*/ 313372 w 313372"/>
                  <a:gd name="connsiteY1" fmla="*/ 131445 h 340994"/>
                  <a:gd name="connsiteX2" fmla="*/ 166688 w 313372"/>
                  <a:gd name="connsiteY2" fmla="*/ 0 h 340994"/>
                  <a:gd name="connsiteX3" fmla="*/ 0 w 313372"/>
                  <a:gd name="connsiteY3" fmla="*/ 250507 h 340994"/>
                  <a:gd name="connsiteX4" fmla="*/ 9525 w 313372"/>
                  <a:gd name="connsiteY4" fmla="*/ 327660 h 340994"/>
                  <a:gd name="connsiteX5" fmla="*/ 13335 w 313372"/>
                  <a:gd name="connsiteY5" fmla="*/ 340995 h 340994"/>
                  <a:gd name="connsiteX6" fmla="*/ 170497 w 313372"/>
                  <a:gd name="connsiteY6" fmla="*/ 262890 h 340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3372" h="340994">
                    <a:moveTo>
                      <a:pt x="170497" y="262890"/>
                    </a:moveTo>
                    <a:cubicBezTo>
                      <a:pt x="204788" y="195263"/>
                      <a:pt x="255270" y="147638"/>
                      <a:pt x="313372" y="131445"/>
                    </a:cubicBezTo>
                    <a:cubicBezTo>
                      <a:pt x="284797" y="53340"/>
                      <a:pt x="230505" y="0"/>
                      <a:pt x="166688" y="0"/>
                    </a:cubicBezTo>
                    <a:cubicBezTo>
                      <a:pt x="74295" y="0"/>
                      <a:pt x="0" y="112395"/>
                      <a:pt x="0" y="250507"/>
                    </a:cubicBezTo>
                    <a:cubicBezTo>
                      <a:pt x="0" y="279082"/>
                      <a:pt x="2857" y="304800"/>
                      <a:pt x="9525" y="327660"/>
                    </a:cubicBezTo>
                    <a:cubicBezTo>
                      <a:pt x="10478" y="332422"/>
                      <a:pt x="12382" y="336232"/>
                      <a:pt x="13335" y="340995"/>
                    </a:cubicBezTo>
                    <a:cubicBezTo>
                      <a:pt x="58103" y="295275"/>
                      <a:pt x="112395" y="267652"/>
                      <a:pt x="170497" y="262890"/>
                    </a:cubicBezTo>
                    <a:close/>
                  </a:path>
                </a:pathLst>
              </a:custGeom>
              <a:solidFill>
                <a:srgbClr val="3BA24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 215"/>
              <p:cNvSpPr/>
              <p:nvPr/>
            </p:nvSpPr>
            <p:spPr>
              <a:xfrm>
                <a:off x="6952296" y="2413634"/>
                <a:ext cx="417195" cy="359092"/>
              </a:xfrm>
              <a:custGeom>
                <a:avLst/>
                <a:gdLst>
                  <a:gd name="connsiteX0" fmla="*/ 0 w 417195"/>
                  <a:gd name="connsiteY0" fmla="*/ 138113 h 359092"/>
                  <a:gd name="connsiteX1" fmla="*/ 18097 w 417195"/>
                  <a:gd name="connsiteY1" fmla="*/ 137160 h 359092"/>
                  <a:gd name="connsiteX2" fmla="*/ 287655 w 417195"/>
                  <a:gd name="connsiteY2" fmla="*/ 359093 h 359092"/>
                  <a:gd name="connsiteX3" fmla="*/ 417195 w 417195"/>
                  <a:gd name="connsiteY3" fmla="*/ 359093 h 359092"/>
                  <a:gd name="connsiteX4" fmla="*/ 417195 w 417195"/>
                  <a:gd name="connsiteY4" fmla="*/ 350520 h 359092"/>
                  <a:gd name="connsiteX5" fmla="*/ 184785 w 417195"/>
                  <a:gd name="connsiteY5" fmla="*/ 0 h 359092"/>
                  <a:gd name="connsiteX6" fmla="*/ 142875 w 417195"/>
                  <a:gd name="connsiteY6" fmla="*/ 5715 h 359092"/>
                  <a:gd name="connsiteX7" fmla="*/ 0 w 417195"/>
                  <a:gd name="connsiteY7" fmla="*/ 138113 h 359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195" h="359092">
                    <a:moveTo>
                      <a:pt x="0" y="138113"/>
                    </a:moveTo>
                    <a:cubicBezTo>
                      <a:pt x="5715" y="137160"/>
                      <a:pt x="11430" y="137160"/>
                      <a:pt x="18097" y="137160"/>
                    </a:cubicBezTo>
                    <a:cubicBezTo>
                      <a:pt x="131445" y="137160"/>
                      <a:pt x="230505" y="225743"/>
                      <a:pt x="287655" y="359093"/>
                    </a:cubicBezTo>
                    <a:lnTo>
                      <a:pt x="417195" y="359093"/>
                    </a:lnTo>
                    <a:cubicBezTo>
                      <a:pt x="417195" y="356235"/>
                      <a:pt x="417195" y="353378"/>
                      <a:pt x="417195" y="350520"/>
                    </a:cubicBezTo>
                    <a:cubicBezTo>
                      <a:pt x="417195" y="157163"/>
                      <a:pt x="313372" y="0"/>
                      <a:pt x="184785" y="0"/>
                    </a:cubicBezTo>
                    <a:cubicBezTo>
                      <a:pt x="170497" y="0"/>
                      <a:pt x="156210" y="1905"/>
                      <a:pt x="142875" y="5715"/>
                    </a:cubicBezTo>
                    <a:cubicBezTo>
                      <a:pt x="84772" y="22860"/>
                      <a:pt x="34290" y="70485"/>
                      <a:pt x="0" y="138113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 216"/>
              <p:cNvSpPr/>
              <p:nvPr/>
            </p:nvSpPr>
            <p:spPr>
              <a:xfrm>
                <a:off x="6699884" y="2550795"/>
                <a:ext cx="540067" cy="222885"/>
              </a:xfrm>
              <a:custGeom>
                <a:avLst/>
                <a:gdLst>
                  <a:gd name="connsiteX0" fmla="*/ 270510 w 540067"/>
                  <a:gd name="connsiteY0" fmla="*/ 0 h 222885"/>
                  <a:gd name="connsiteX1" fmla="*/ 252413 w 540067"/>
                  <a:gd name="connsiteY1" fmla="*/ 952 h 222885"/>
                  <a:gd name="connsiteX2" fmla="*/ 94297 w 540067"/>
                  <a:gd name="connsiteY2" fmla="*/ 79058 h 222885"/>
                  <a:gd name="connsiteX3" fmla="*/ 0 w 540067"/>
                  <a:gd name="connsiteY3" fmla="*/ 222885 h 222885"/>
                  <a:gd name="connsiteX4" fmla="*/ 540068 w 540067"/>
                  <a:gd name="connsiteY4" fmla="*/ 222885 h 222885"/>
                  <a:gd name="connsiteX5" fmla="*/ 270510 w 540067"/>
                  <a:gd name="connsiteY5" fmla="*/ 0 h 222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0067" h="222885">
                    <a:moveTo>
                      <a:pt x="270510" y="0"/>
                    </a:moveTo>
                    <a:cubicBezTo>
                      <a:pt x="264795" y="0"/>
                      <a:pt x="258128" y="0"/>
                      <a:pt x="252413" y="952"/>
                    </a:cubicBezTo>
                    <a:cubicBezTo>
                      <a:pt x="194310" y="5715"/>
                      <a:pt x="140970" y="34290"/>
                      <a:pt x="94297" y="79058"/>
                    </a:cubicBezTo>
                    <a:cubicBezTo>
                      <a:pt x="56197" y="116205"/>
                      <a:pt x="24765" y="164783"/>
                      <a:pt x="0" y="222885"/>
                    </a:cubicBezTo>
                    <a:lnTo>
                      <a:pt x="540068" y="222885"/>
                    </a:lnTo>
                    <a:cubicBezTo>
                      <a:pt x="482918" y="88583"/>
                      <a:pt x="383858" y="0"/>
                      <a:pt x="27051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8914289" y="4138612"/>
              <a:ext cx="578168" cy="567690"/>
              <a:chOff x="8879204" y="2205990"/>
              <a:chExt cx="578168" cy="567690"/>
            </a:xfrm>
          </p:grpSpPr>
          <p:grpSp>
            <p:nvGrpSpPr>
              <p:cNvPr id="28" name="组合 27"/>
              <p:cNvGrpSpPr/>
              <p:nvPr/>
            </p:nvGrpSpPr>
            <p:grpSpPr>
              <a:xfrm>
                <a:off x="8879204" y="2205990"/>
                <a:ext cx="342900" cy="567690"/>
                <a:chOff x="8879204" y="2205990"/>
                <a:chExt cx="342900" cy="567690"/>
              </a:xfrm>
            </p:grpSpPr>
            <p:sp>
              <p:nvSpPr>
                <p:cNvPr id="34" name="任意多边形 220"/>
                <p:cNvSpPr/>
                <p:nvPr/>
              </p:nvSpPr>
              <p:spPr>
                <a:xfrm>
                  <a:off x="9023984" y="2238375"/>
                  <a:ext cx="60007" cy="535305"/>
                </a:xfrm>
                <a:custGeom>
                  <a:avLst/>
                  <a:gdLst>
                    <a:gd name="connsiteX0" fmla="*/ 60007 w 60007"/>
                    <a:gd name="connsiteY0" fmla="*/ 535305 h 535305"/>
                    <a:gd name="connsiteX1" fmla="*/ 0 w 60007"/>
                    <a:gd name="connsiteY1" fmla="*/ 535305 h 535305"/>
                    <a:gd name="connsiteX2" fmla="*/ 20955 w 60007"/>
                    <a:gd name="connsiteY2" fmla="*/ 0 h 535305"/>
                    <a:gd name="connsiteX3" fmla="*/ 39052 w 60007"/>
                    <a:gd name="connsiteY3" fmla="*/ 0 h 535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007" h="535305">
                      <a:moveTo>
                        <a:pt x="60007" y="535305"/>
                      </a:moveTo>
                      <a:lnTo>
                        <a:pt x="0" y="535305"/>
                      </a:lnTo>
                      <a:lnTo>
                        <a:pt x="20955" y="0"/>
                      </a:lnTo>
                      <a:lnTo>
                        <a:pt x="39052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35" name="组合 34"/>
                <p:cNvGrpSpPr/>
                <p:nvPr/>
              </p:nvGrpSpPr>
              <p:grpSpPr>
                <a:xfrm>
                  <a:off x="8879204" y="2205990"/>
                  <a:ext cx="342900" cy="567690"/>
                  <a:chOff x="8879204" y="2205990"/>
                  <a:chExt cx="342900" cy="567690"/>
                </a:xfrm>
              </p:grpSpPr>
              <p:sp>
                <p:nvSpPr>
                  <p:cNvPr id="36" name="任意多边形 222"/>
                  <p:cNvSpPr/>
                  <p:nvPr/>
                </p:nvSpPr>
                <p:spPr>
                  <a:xfrm>
                    <a:off x="8879204" y="2546984"/>
                    <a:ext cx="342900" cy="226695"/>
                  </a:xfrm>
                  <a:custGeom>
                    <a:avLst/>
                    <a:gdLst>
                      <a:gd name="connsiteX0" fmla="*/ 170497 w 342900"/>
                      <a:gd name="connsiteY0" fmla="*/ 0 h 226695"/>
                      <a:gd name="connsiteX1" fmla="*/ 0 w 342900"/>
                      <a:gd name="connsiteY1" fmla="*/ 226695 h 226695"/>
                      <a:gd name="connsiteX2" fmla="*/ 171450 w 342900"/>
                      <a:gd name="connsiteY2" fmla="*/ 226695 h 226695"/>
                      <a:gd name="connsiteX3" fmla="*/ 342900 w 342900"/>
                      <a:gd name="connsiteY3" fmla="*/ 226695 h 2266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42900" h="226695">
                        <a:moveTo>
                          <a:pt x="170497" y="0"/>
                        </a:moveTo>
                        <a:lnTo>
                          <a:pt x="0" y="226695"/>
                        </a:lnTo>
                        <a:lnTo>
                          <a:pt x="171450" y="226695"/>
                        </a:lnTo>
                        <a:lnTo>
                          <a:pt x="342900" y="226695"/>
                        </a:lnTo>
                        <a:close/>
                      </a:path>
                    </a:pathLst>
                  </a:custGeom>
                  <a:solidFill>
                    <a:srgbClr val="006738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7" name="任意多边形 223"/>
                  <p:cNvSpPr/>
                  <p:nvPr/>
                </p:nvSpPr>
                <p:spPr>
                  <a:xfrm>
                    <a:off x="8893492" y="2415540"/>
                    <a:ext cx="313372" cy="191452"/>
                  </a:xfrm>
                  <a:custGeom>
                    <a:avLst/>
                    <a:gdLst>
                      <a:gd name="connsiteX0" fmla="*/ 155257 w 313372"/>
                      <a:gd name="connsiteY0" fmla="*/ 0 h 191452"/>
                      <a:gd name="connsiteX1" fmla="*/ 0 w 313372"/>
                      <a:gd name="connsiteY1" fmla="*/ 191452 h 191452"/>
                      <a:gd name="connsiteX2" fmla="*/ 156210 w 313372"/>
                      <a:gd name="connsiteY2" fmla="*/ 191452 h 191452"/>
                      <a:gd name="connsiteX3" fmla="*/ 313372 w 313372"/>
                      <a:gd name="connsiteY3" fmla="*/ 191452 h 1914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13372" h="191452">
                        <a:moveTo>
                          <a:pt x="155257" y="0"/>
                        </a:moveTo>
                        <a:lnTo>
                          <a:pt x="0" y="191452"/>
                        </a:lnTo>
                        <a:lnTo>
                          <a:pt x="156210" y="191452"/>
                        </a:lnTo>
                        <a:lnTo>
                          <a:pt x="313372" y="191452"/>
                        </a:lnTo>
                        <a:close/>
                      </a:path>
                    </a:pathLst>
                  </a:custGeom>
                  <a:solidFill>
                    <a:srgbClr val="029344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8" name="任意多边形 224"/>
                  <p:cNvSpPr/>
                  <p:nvPr/>
                </p:nvSpPr>
                <p:spPr>
                  <a:xfrm>
                    <a:off x="8904922" y="2303145"/>
                    <a:ext cx="288607" cy="163829"/>
                  </a:xfrm>
                  <a:custGeom>
                    <a:avLst/>
                    <a:gdLst>
                      <a:gd name="connsiteX0" fmla="*/ 143827 w 288607"/>
                      <a:gd name="connsiteY0" fmla="*/ 0 h 163829"/>
                      <a:gd name="connsiteX1" fmla="*/ 0 w 288607"/>
                      <a:gd name="connsiteY1" fmla="*/ 163830 h 163829"/>
                      <a:gd name="connsiteX2" fmla="*/ 144780 w 288607"/>
                      <a:gd name="connsiteY2" fmla="*/ 163830 h 163829"/>
                      <a:gd name="connsiteX3" fmla="*/ 288607 w 288607"/>
                      <a:gd name="connsiteY3" fmla="*/ 163830 h 1638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88607" h="163829">
                        <a:moveTo>
                          <a:pt x="143827" y="0"/>
                        </a:moveTo>
                        <a:lnTo>
                          <a:pt x="0" y="163830"/>
                        </a:lnTo>
                        <a:lnTo>
                          <a:pt x="144780" y="163830"/>
                        </a:lnTo>
                        <a:lnTo>
                          <a:pt x="288607" y="163830"/>
                        </a:lnTo>
                        <a:close/>
                      </a:path>
                    </a:pathLst>
                  </a:custGeom>
                  <a:solidFill>
                    <a:srgbClr val="6EB13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9" name="任意多边形 225"/>
                  <p:cNvSpPr/>
                  <p:nvPr/>
                </p:nvSpPr>
                <p:spPr>
                  <a:xfrm>
                    <a:off x="8915399" y="2205990"/>
                    <a:ext cx="266700" cy="140969"/>
                  </a:xfrm>
                  <a:custGeom>
                    <a:avLst/>
                    <a:gdLst>
                      <a:gd name="connsiteX0" fmla="*/ 132398 w 266700"/>
                      <a:gd name="connsiteY0" fmla="*/ 0 h 140969"/>
                      <a:gd name="connsiteX1" fmla="*/ 0 w 266700"/>
                      <a:gd name="connsiteY1" fmla="*/ 140970 h 140969"/>
                      <a:gd name="connsiteX2" fmla="*/ 133350 w 266700"/>
                      <a:gd name="connsiteY2" fmla="*/ 140970 h 140969"/>
                      <a:gd name="connsiteX3" fmla="*/ 266700 w 266700"/>
                      <a:gd name="connsiteY3" fmla="*/ 140970 h 1409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66700" h="140969">
                        <a:moveTo>
                          <a:pt x="132398" y="0"/>
                        </a:moveTo>
                        <a:lnTo>
                          <a:pt x="0" y="140970"/>
                        </a:lnTo>
                        <a:lnTo>
                          <a:pt x="133350" y="140970"/>
                        </a:lnTo>
                        <a:lnTo>
                          <a:pt x="266700" y="140970"/>
                        </a:lnTo>
                        <a:close/>
                      </a:path>
                    </a:pathLst>
                  </a:custGeom>
                  <a:solidFill>
                    <a:srgbClr val="92C33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29" name="组合 28"/>
              <p:cNvGrpSpPr/>
              <p:nvPr/>
            </p:nvGrpSpPr>
            <p:grpSpPr>
              <a:xfrm>
                <a:off x="9019222" y="2615565"/>
                <a:ext cx="438150" cy="158115"/>
                <a:chOff x="9019222" y="2615565"/>
                <a:chExt cx="438150" cy="158115"/>
              </a:xfrm>
            </p:grpSpPr>
            <p:sp>
              <p:nvSpPr>
                <p:cNvPr id="30" name="任意多边形 228"/>
                <p:cNvSpPr/>
                <p:nvPr/>
              </p:nvSpPr>
              <p:spPr>
                <a:xfrm>
                  <a:off x="9088754" y="2615565"/>
                  <a:ext cx="317182" cy="158115"/>
                </a:xfrm>
                <a:custGeom>
                  <a:avLst/>
                  <a:gdLst>
                    <a:gd name="connsiteX0" fmla="*/ 158115 w 317182"/>
                    <a:gd name="connsiteY0" fmla="*/ 0 h 158115"/>
                    <a:gd name="connsiteX1" fmla="*/ 0 w 317182"/>
                    <a:gd name="connsiteY1" fmla="*/ 158115 h 158115"/>
                    <a:gd name="connsiteX2" fmla="*/ 317182 w 317182"/>
                    <a:gd name="connsiteY2" fmla="*/ 158115 h 158115"/>
                    <a:gd name="connsiteX3" fmla="*/ 158115 w 317182"/>
                    <a:gd name="connsiteY3" fmla="*/ 0 h 1581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7182" h="158115">
                      <a:moveTo>
                        <a:pt x="158115" y="0"/>
                      </a:moveTo>
                      <a:cubicBezTo>
                        <a:pt x="70485" y="0"/>
                        <a:pt x="0" y="70485"/>
                        <a:pt x="0" y="158115"/>
                      </a:cubicBezTo>
                      <a:lnTo>
                        <a:pt x="317182" y="158115"/>
                      </a:lnTo>
                      <a:cubicBezTo>
                        <a:pt x="317182" y="70485"/>
                        <a:pt x="245745" y="0"/>
                        <a:pt x="158115" y="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1" name="任意多边形 229"/>
                <p:cNvSpPr/>
                <p:nvPr/>
              </p:nvSpPr>
              <p:spPr>
                <a:xfrm>
                  <a:off x="9019222" y="2677477"/>
                  <a:ext cx="190500" cy="95250"/>
                </a:xfrm>
                <a:custGeom>
                  <a:avLst/>
                  <a:gdLst>
                    <a:gd name="connsiteX0" fmla="*/ 95250 w 190500"/>
                    <a:gd name="connsiteY0" fmla="*/ 0 h 95250"/>
                    <a:gd name="connsiteX1" fmla="*/ 0 w 190500"/>
                    <a:gd name="connsiteY1" fmla="*/ 95250 h 95250"/>
                    <a:gd name="connsiteX2" fmla="*/ 190500 w 190500"/>
                    <a:gd name="connsiteY2" fmla="*/ 95250 h 95250"/>
                    <a:gd name="connsiteX3" fmla="*/ 95250 w 190500"/>
                    <a:gd name="connsiteY3" fmla="*/ 0 h 95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0500" h="95250">
                      <a:moveTo>
                        <a:pt x="95250" y="0"/>
                      </a:moveTo>
                      <a:cubicBezTo>
                        <a:pt x="42863" y="0"/>
                        <a:pt x="0" y="42863"/>
                        <a:pt x="0" y="95250"/>
                      </a:cubicBezTo>
                      <a:lnTo>
                        <a:pt x="190500" y="95250"/>
                      </a:lnTo>
                      <a:cubicBezTo>
                        <a:pt x="190500" y="42863"/>
                        <a:pt x="148590" y="0"/>
                        <a:pt x="95250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2" name="任意多边形 230"/>
                <p:cNvSpPr/>
                <p:nvPr/>
              </p:nvSpPr>
              <p:spPr>
                <a:xfrm>
                  <a:off x="9139237" y="2706052"/>
                  <a:ext cx="134324" cy="67627"/>
                </a:xfrm>
                <a:custGeom>
                  <a:avLst/>
                  <a:gdLst>
                    <a:gd name="connsiteX0" fmla="*/ 67627 w 134324"/>
                    <a:gd name="connsiteY0" fmla="*/ 0 h 67627"/>
                    <a:gd name="connsiteX1" fmla="*/ 0 w 134324"/>
                    <a:gd name="connsiteY1" fmla="*/ 67628 h 67627"/>
                    <a:gd name="connsiteX2" fmla="*/ 134302 w 134324"/>
                    <a:gd name="connsiteY2" fmla="*/ 67628 h 67627"/>
                    <a:gd name="connsiteX3" fmla="*/ 67627 w 134324"/>
                    <a:gd name="connsiteY3" fmla="*/ 0 h 67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4324" h="67627">
                      <a:moveTo>
                        <a:pt x="67627" y="0"/>
                      </a:moveTo>
                      <a:cubicBezTo>
                        <a:pt x="30480" y="0"/>
                        <a:pt x="0" y="30480"/>
                        <a:pt x="0" y="67628"/>
                      </a:cubicBezTo>
                      <a:lnTo>
                        <a:pt x="134302" y="67628"/>
                      </a:lnTo>
                      <a:cubicBezTo>
                        <a:pt x="135255" y="30480"/>
                        <a:pt x="104775" y="0"/>
                        <a:pt x="67627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3" name="任意多边形 231"/>
                <p:cNvSpPr/>
                <p:nvPr/>
              </p:nvSpPr>
              <p:spPr>
                <a:xfrm>
                  <a:off x="9332594" y="2710815"/>
                  <a:ext cx="124777" cy="62865"/>
                </a:xfrm>
                <a:custGeom>
                  <a:avLst/>
                  <a:gdLst>
                    <a:gd name="connsiteX0" fmla="*/ 62865 w 124777"/>
                    <a:gd name="connsiteY0" fmla="*/ 0 h 62865"/>
                    <a:gd name="connsiteX1" fmla="*/ 0 w 124777"/>
                    <a:gd name="connsiteY1" fmla="*/ 62865 h 62865"/>
                    <a:gd name="connsiteX2" fmla="*/ 124778 w 124777"/>
                    <a:gd name="connsiteY2" fmla="*/ 62865 h 62865"/>
                    <a:gd name="connsiteX3" fmla="*/ 62865 w 124777"/>
                    <a:gd name="connsiteY3" fmla="*/ 0 h 62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4777" h="62865">
                      <a:moveTo>
                        <a:pt x="62865" y="0"/>
                      </a:moveTo>
                      <a:cubicBezTo>
                        <a:pt x="28575" y="0"/>
                        <a:pt x="0" y="27622"/>
                        <a:pt x="0" y="62865"/>
                      </a:cubicBezTo>
                      <a:lnTo>
                        <a:pt x="124778" y="62865"/>
                      </a:lnTo>
                      <a:cubicBezTo>
                        <a:pt x="124778" y="27622"/>
                        <a:pt x="97155" y="0"/>
                        <a:pt x="62865" y="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4" name="组合 13"/>
            <p:cNvGrpSpPr/>
            <p:nvPr/>
          </p:nvGrpSpPr>
          <p:grpSpPr>
            <a:xfrm>
              <a:off x="2772569" y="4065269"/>
              <a:ext cx="704850" cy="641032"/>
              <a:chOff x="2737484" y="2132647"/>
              <a:chExt cx="704850" cy="641032"/>
            </a:xfrm>
          </p:grpSpPr>
          <p:sp>
            <p:nvSpPr>
              <p:cNvPr id="15" name="任意多边形 233"/>
              <p:cNvSpPr/>
              <p:nvPr/>
            </p:nvSpPr>
            <p:spPr>
              <a:xfrm>
                <a:off x="2987992" y="2646045"/>
                <a:ext cx="340058" cy="127635"/>
              </a:xfrm>
              <a:custGeom>
                <a:avLst/>
                <a:gdLst>
                  <a:gd name="connsiteX0" fmla="*/ 250508 w 340058"/>
                  <a:gd name="connsiteY0" fmla="*/ 37148 h 127635"/>
                  <a:gd name="connsiteX1" fmla="*/ 221933 w 340058"/>
                  <a:gd name="connsiteY1" fmla="*/ 41910 h 127635"/>
                  <a:gd name="connsiteX2" fmla="*/ 127635 w 340058"/>
                  <a:gd name="connsiteY2" fmla="*/ 0 h 127635"/>
                  <a:gd name="connsiteX3" fmla="*/ 0 w 340058"/>
                  <a:gd name="connsiteY3" fmla="*/ 127635 h 127635"/>
                  <a:gd name="connsiteX4" fmla="*/ 160020 w 340058"/>
                  <a:gd name="connsiteY4" fmla="*/ 127635 h 127635"/>
                  <a:gd name="connsiteX5" fmla="*/ 254318 w 340058"/>
                  <a:gd name="connsiteY5" fmla="*/ 127635 h 127635"/>
                  <a:gd name="connsiteX6" fmla="*/ 340043 w 340058"/>
                  <a:gd name="connsiteY6" fmla="*/ 127635 h 127635"/>
                  <a:gd name="connsiteX7" fmla="*/ 250508 w 340058"/>
                  <a:gd name="connsiteY7" fmla="*/ 37148 h 127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0058" h="127635">
                    <a:moveTo>
                      <a:pt x="250508" y="37148"/>
                    </a:moveTo>
                    <a:cubicBezTo>
                      <a:pt x="240030" y="37148"/>
                      <a:pt x="230505" y="39052"/>
                      <a:pt x="221933" y="41910"/>
                    </a:cubicBezTo>
                    <a:cubicBezTo>
                      <a:pt x="198120" y="16192"/>
                      <a:pt x="164783" y="0"/>
                      <a:pt x="127635" y="0"/>
                    </a:cubicBezTo>
                    <a:cubicBezTo>
                      <a:pt x="57150" y="0"/>
                      <a:pt x="0" y="57150"/>
                      <a:pt x="0" y="127635"/>
                    </a:cubicBezTo>
                    <a:lnTo>
                      <a:pt x="160020" y="127635"/>
                    </a:lnTo>
                    <a:lnTo>
                      <a:pt x="254318" y="127635"/>
                    </a:lnTo>
                    <a:lnTo>
                      <a:pt x="340043" y="127635"/>
                    </a:lnTo>
                    <a:cubicBezTo>
                      <a:pt x="340995" y="77152"/>
                      <a:pt x="300038" y="37148"/>
                      <a:pt x="250508" y="37148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6" name="组合 15"/>
              <p:cNvGrpSpPr/>
              <p:nvPr/>
            </p:nvGrpSpPr>
            <p:grpSpPr>
              <a:xfrm>
                <a:off x="2737484" y="2132647"/>
                <a:ext cx="704850" cy="640080"/>
                <a:chOff x="2737484" y="2132647"/>
                <a:chExt cx="704850" cy="640080"/>
              </a:xfrm>
            </p:grpSpPr>
            <p:sp>
              <p:nvSpPr>
                <p:cNvPr id="18" name="任意多边形 235"/>
                <p:cNvSpPr/>
                <p:nvPr/>
              </p:nvSpPr>
              <p:spPr>
                <a:xfrm>
                  <a:off x="3063239" y="2425065"/>
                  <a:ext cx="49530" cy="347662"/>
                </a:xfrm>
                <a:custGeom>
                  <a:avLst/>
                  <a:gdLst>
                    <a:gd name="connsiteX0" fmla="*/ 0 w 49530"/>
                    <a:gd name="connsiteY0" fmla="*/ 347663 h 347662"/>
                    <a:gd name="connsiteX1" fmla="*/ 49530 w 49530"/>
                    <a:gd name="connsiteY1" fmla="*/ 347663 h 347662"/>
                    <a:gd name="connsiteX2" fmla="*/ 43815 w 49530"/>
                    <a:gd name="connsiteY2" fmla="*/ 0 h 347662"/>
                    <a:gd name="connsiteX3" fmla="*/ 8573 w 49530"/>
                    <a:gd name="connsiteY3" fmla="*/ 0 h 347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9530" h="347662">
                      <a:moveTo>
                        <a:pt x="0" y="347663"/>
                      </a:moveTo>
                      <a:lnTo>
                        <a:pt x="49530" y="347663"/>
                      </a:lnTo>
                      <a:lnTo>
                        <a:pt x="43815" y="0"/>
                      </a:lnTo>
                      <a:lnTo>
                        <a:pt x="8573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" name="任意多边形 236"/>
                <p:cNvSpPr/>
                <p:nvPr/>
              </p:nvSpPr>
              <p:spPr>
                <a:xfrm>
                  <a:off x="3097529" y="2373629"/>
                  <a:ext cx="150866" cy="200025"/>
                </a:xfrm>
                <a:custGeom>
                  <a:avLst/>
                  <a:gdLst>
                    <a:gd name="connsiteX0" fmla="*/ 952 w 150866"/>
                    <a:gd name="connsiteY0" fmla="*/ 158115 h 200025"/>
                    <a:gd name="connsiteX1" fmla="*/ 110490 w 150866"/>
                    <a:gd name="connsiteY1" fmla="*/ 0 h 200025"/>
                    <a:gd name="connsiteX2" fmla="*/ 149543 w 150866"/>
                    <a:gd name="connsiteY2" fmla="*/ 6667 h 200025"/>
                    <a:gd name="connsiteX3" fmla="*/ 0 w 150866"/>
                    <a:gd name="connsiteY3" fmla="*/ 200025 h 200025"/>
                    <a:gd name="connsiteX4" fmla="*/ 952 w 150866"/>
                    <a:gd name="connsiteY4" fmla="*/ 158115 h 200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66" h="200025">
                      <a:moveTo>
                        <a:pt x="952" y="158115"/>
                      </a:moveTo>
                      <a:cubicBezTo>
                        <a:pt x="952" y="158115"/>
                        <a:pt x="152400" y="141923"/>
                        <a:pt x="110490" y="0"/>
                      </a:cubicBezTo>
                      <a:lnTo>
                        <a:pt x="149543" y="6667"/>
                      </a:lnTo>
                      <a:cubicBezTo>
                        <a:pt x="149543" y="6667"/>
                        <a:pt x="175260" y="144780"/>
                        <a:pt x="0" y="200025"/>
                      </a:cubicBezTo>
                      <a:lnTo>
                        <a:pt x="952" y="158115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" name="任意多边形 237"/>
                <p:cNvSpPr/>
                <p:nvPr/>
              </p:nvSpPr>
              <p:spPr>
                <a:xfrm>
                  <a:off x="2968935" y="2326957"/>
                  <a:ext cx="120973" cy="156209"/>
                </a:xfrm>
                <a:custGeom>
                  <a:avLst/>
                  <a:gdLst>
                    <a:gd name="connsiteX0" fmla="*/ 30486 w 120973"/>
                    <a:gd name="connsiteY0" fmla="*/ 10477 h 156209"/>
                    <a:gd name="connsiteX1" fmla="*/ 120974 w 120973"/>
                    <a:gd name="connsiteY1" fmla="*/ 128588 h 156209"/>
                    <a:gd name="connsiteX2" fmla="*/ 106686 w 120973"/>
                    <a:gd name="connsiteY2" fmla="*/ 156210 h 156209"/>
                    <a:gd name="connsiteX3" fmla="*/ 6 w 120973"/>
                    <a:gd name="connsiteY3" fmla="*/ 0 h 156209"/>
                    <a:gd name="connsiteX4" fmla="*/ 30486 w 120973"/>
                    <a:gd name="connsiteY4" fmla="*/ 10477 h 156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0973" h="156209">
                      <a:moveTo>
                        <a:pt x="30486" y="10477"/>
                      </a:moveTo>
                      <a:cubicBezTo>
                        <a:pt x="30486" y="10477"/>
                        <a:pt x="5721" y="125730"/>
                        <a:pt x="120974" y="128588"/>
                      </a:cubicBezTo>
                      <a:lnTo>
                        <a:pt x="106686" y="156210"/>
                      </a:lnTo>
                      <a:cubicBezTo>
                        <a:pt x="106686" y="156210"/>
                        <a:pt x="-946" y="141922"/>
                        <a:pt x="6" y="0"/>
                      </a:cubicBezTo>
                      <a:lnTo>
                        <a:pt x="30486" y="10477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" name="任意多边形 238"/>
                <p:cNvSpPr/>
                <p:nvPr/>
              </p:nvSpPr>
              <p:spPr>
                <a:xfrm>
                  <a:off x="2832734" y="2346959"/>
                  <a:ext cx="167640" cy="97818"/>
                </a:xfrm>
                <a:custGeom>
                  <a:avLst/>
                  <a:gdLst>
                    <a:gd name="connsiteX0" fmla="*/ 32385 w 167640"/>
                    <a:gd name="connsiteY0" fmla="*/ 0 h 97818"/>
                    <a:gd name="connsiteX1" fmla="*/ 167640 w 167640"/>
                    <a:gd name="connsiteY1" fmla="*/ 61913 h 97818"/>
                    <a:gd name="connsiteX2" fmla="*/ 167640 w 167640"/>
                    <a:gd name="connsiteY2" fmla="*/ 92393 h 97818"/>
                    <a:gd name="connsiteX3" fmla="*/ 0 w 167640"/>
                    <a:gd name="connsiteY3" fmla="*/ 4763 h 97818"/>
                    <a:gd name="connsiteX4" fmla="*/ 32385 w 167640"/>
                    <a:gd name="connsiteY4" fmla="*/ 0 h 97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97818">
                      <a:moveTo>
                        <a:pt x="32385" y="0"/>
                      </a:moveTo>
                      <a:cubicBezTo>
                        <a:pt x="32385" y="0"/>
                        <a:pt x="64770" y="112395"/>
                        <a:pt x="167640" y="61913"/>
                      </a:cubicBezTo>
                      <a:lnTo>
                        <a:pt x="167640" y="92393"/>
                      </a:lnTo>
                      <a:cubicBezTo>
                        <a:pt x="167640" y="92393"/>
                        <a:pt x="65723" y="130493"/>
                        <a:pt x="0" y="4763"/>
                      </a:cubicBezTo>
                      <a:lnTo>
                        <a:pt x="32385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" name="任意多边形 239"/>
                <p:cNvSpPr/>
                <p:nvPr/>
              </p:nvSpPr>
              <p:spPr>
                <a:xfrm>
                  <a:off x="3191826" y="2437447"/>
                  <a:ext cx="179070" cy="91847"/>
                </a:xfrm>
                <a:custGeom>
                  <a:avLst/>
                  <a:gdLst>
                    <a:gd name="connsiteX0" fmla="*/ 18098 w 179070"/>
                    <a:gd name="connsiteY0" fmla="*/ 56198 h 91847"/>
                    <a:gd name="connsiteX1" fmla="*/ 156210 w 179070"/>
                    <a:gd name="connsiteY1" fmla="*/ 0 h 91847"/>
                    <a:gd name="connsiteX2" fmla="*/ 179070 w 179070"/>
                    <a:gd name="connsiteY2" fmla="*/ 20955 h 91847"/>
                    <a:gd name="connsiteX3" fmla="*/ 0 w 179070"/>
                    <a:gd name="connsiteY3" fmla="*/ 82868 h 91847"/>
                    <a:gd name="connsiteX4" fmla="*/ 18098 w 179070"/>
                    <a:gd name="connsiteY4" fmla="*/ 56198 h 91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9070" h="91847">
                      <a:moveTo>
                        <a:pt x="18098" y="56198"/>
                      </a:moveTo>
                      <a:cubicBezTo>
                        <a:pt x="18098" y="56198"/>
                        <a:pt x="122873" y="109538"/>
                        <a:pt x="156210" y="0"/>
                      </a:cubicBezTo>
                      <a:lnTo>
                        <a:pt x="179070" y="20955"/>
                      </a:lnTo>
                      <a:cubicBezTo>
                        <a:pt x="179070" y="20955"/>
                        <a:pt x="137160" y="121920"/>
                        <a:pt x="0" y="82868"/>
                      </a:cubicBezTo>
                      <a:lnTo>
                        <a:pt x="18098" y="56198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" name="任意多边形 240"/>
                <p:cNvSpPr/>
                <p:nvPr/>
              </p:nvSpPr>
              <p:spPr>
                <a:xfrm>
                  <a:off x="2895599" y="2154554"/>
                  <a:ext cx="180975" cy="215265"/>
                </a:xfrm>
                <a:custGeom>
                  <a:avLst/>
                  <a:gdLst>
                    <a:gd name="connsiteX0" fmla="*/ 180975 w 180975"/>
                    <a:gd name="connsiteY0" fmla="*/ 119063 h 215265"/>
                    <a:gd name="connsiteX1" fmla="*/ 90488 w 180975"/>
                    <a:gd name="connsiteY1" fmla="*/ 215265 h 215265"/>
                    <a:gd name="connsiteX2" fmla="*/ 0 w 180975"/>
                    <a:gd name="connsiteY2" fmla="*/ 119063 h 215265"/>
                    <a:gd name="connsiteX3" fmla="*/ 90488 w 180975"/>
                    <a:gd name="connsiteY3" fmla="*/ 0 h 215265"/>
                    <a:gd name="connsiteX4" fmla="*/ 180975 w 180975"/>
                    <a:gd name="connsiteY4" fmla="*/ 119063 h 215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975" h="215265">
                      <a:moveTo>
                        <a:pt x="180975" y="119063"/>
                      </a:moveTo>
                      <a:cubicBezTo>
                        <a:pt x="180975" y="184785"/>
                        <a:pt x="140970" y="215265"/>
                        <a:pt x="90488" y="215265"/>
                      </a:cubicBezTo>
                      <a:cubicBezTo>
                        <a:pt x="40957" y="215265"/>
                        <a:pt x="0" y="184785"/>
                        <a:pt x="0" y="119063"/>
                      </a:cubicBezTo>
                      <a:cubicBezTo>
                        <a:pt x="0" y="53340"/>
                        <a:pt x="40005" y="0"/>
                        <a:pt x="90488" y="0"/>
                      </a:cubicBezTo>
                      <a:cubicBezTo>
                        <a:pt x="140018" y="0"/>
                        <a:pt x="180975" y="53340"/>
                        <a:pt x="180975" y="11906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" name="任意多边形 241"/>
                <p:cNvSpPr/>
                <p:nvPr/>
              </p:nvSpPr>
              <p:spPr>
                <a:xfrm>
                  <a:off x="2737484" y="2132647"/>
                  <a:ext cx="217170" cy="259080"/>
                </a:xfrm>
                <a:custGeom>
                  <a:avLst/>
                  <a:gdLst>
                    <a:gd name="connsiteX0" fmla="*/ 217170 w 217170"/>
                    <a:gd name="connsiteY0" fmla="*/ 142875 h 259080"/>
                    <a:gd name="connsiteX1" fmla="*/ 108585 w 217170"/>
                    <a:gd name="connsiteY1" fmla="*/ 259080 h 259080"/>
                    <a:gd name="connsiteX2" fmla="*/ 0 w 217170"/>
                    <a:gd name="connsiteY2" fmla="*/ 142875 h 259080"/>
                    <a:gd name="connsiteX3" fmla="*/ 108585 w 217170"/>
                    <a:gd name="connsiteY3" fmla="*/ 0 h 259080"/>
                    <a:gd name="connsiteX4" fmla="*/ 217170 w 217170"/>
                    <a:gd name="connsiteY4" fmla="*/ 142875 h 259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70" h="259080">
                      <a:moveTo>
                        <a:pt x="217170" y="142875"/>
                      </a:moveTo>
                      <a:cubicBezTo>
                        <a:pt x="217170" y="221933"/>
                        <a:pt x="168593" y="259080"/>
                        <a:pt x="108585" y="259080"/>
                      </a:cubicBezTo>
                      <a:cubicBezTo>
                        <a:pt x="48578" y="259080"/>
                        <a:pt x="0" y="222885"/>
                        <a:pt x="0" y="142875"/>
                      </a:cubicBezTo>
                      <a:cubicBezTo>
                        <a:pt x="0" y="63818"/>
                        <a:pt x="48578" y="0"/>
                        <a:pt x="108585" y="0"/>
                      </a:cubicBezTo>
                      <a:cubicBezTo>
                        <a:pt x="168593" y="0"/>
                        <a:pt x="217170" y="63818"/>
                        <a:pt x="217170" y="142875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5" name="任意多边形 242"/>
                <p:cNvSpPr/>
                <p:nvPr/>
              </p:nvSpPr>
              <p:spPr>
                <a:xfrm>
                  <a:off x="3108959" y="2200275"/>
                  <a:ext cx="217169" cy="218122"/>
                </a:xfrm>
                <a:custGeom>
                  <a:avLst/>
                  <a:gdLst>
                    <a:gd name="connsiteX0" fmla="*/ 217170 w 217169"/>
                    <a:gd name="connsiteY0" fmla="*/ 120967 h 218122"/>
                    <a:gd name="connsiteX1" fmla="*/ 108585 w 217169"/>
                    <a:gd name="connsiteY1" fmla="*/ 218122 h 218122"/>
                    <a:gd name="connsiteX2" fmla="*/ 0 w 217169"/>
                    <a:gd name="connsiteY2" fmla="*/ 120967 h 218122"/>
                    <a:gd name="connsiteX3" fmla="*/ 108585 w 217169"/>
                    <a:gd name="connsiteY3" fmla="*/ 0 h 218122"/>
                    <a:gd name="connsiteX4" fmla="*/ 217170 w 217169"/>
                    <a:gd name="connsiteY4" fmla="*/ 120967 h 218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69" h="218122">
                      <a:moveTo>
                        <a:pt x="217170" y="120967"/>
                      </a:moveTo>
                      <a:cubicBezTo>
                        <a:pt x="217170" y="187642"/>
                        <a:pt x="168592" y="218122"/>
                        <a:pt x="108585" y="218122"/>
                      </a:cubicBezTo>
                      <a:cubicBezTo>
                        <a:pt x="48577" y="218122"/>
                        <a:pt x="0" y="187642"/>
                        <a:pt x="0" y="120967"/>
                      </a:cubicBezTo>
                      <a:cubicBezTo>
                        <a:pt x="0" y="54292"/>
                        <a:pt x="48577" y="0"/>
                        <a:pt x="108585" y="0"/>
                      </a:cubicBezTo>
                      <a:cubicBezTo>
                        <a:pt x="168592" y="0"/>
                        <a:pt x="217170" y="54292"/>
                        <a:pt x="217170" y="120967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6" name="任意多边形 243"/>
                <p:cNvSpPr/>
                <p:nvPr/>
              </p:nvSpPr>
              <p:spPr>
                <a:xfrm>
                  <a:off x="3016567" y="2297429"/>
                  <a:ext cx="142875" cy="144779"/>
                </a:xfrm>
                <a:custGeom>
                  <a:avLst/>
                  <a:gdLst>
                    <a:gd name="connsiteX0" fmla="*/ 142875 w 142875"/>
                    <a:gd name="connsiteY0" fmla="*/ 80010 h 144779"/>
                    <a:gd name="connsiteX1" fmla="*/ 71438 w 142875"/>
                    <a:gd name="connsiteY1" fmla="*/ 144780 h 144779"/>
                    <a:gd name="connsiteX2" fmla="*/ 0 w 142875"/>
                    <a:gd name="connsiteY2" fmla="*/ 80010 h 144779"/>
                    <a:gd name="connsiteX3" fmla="*/ 71438 w 142875"/>
                    <a:gd name="connsiteY3" fmla="*/ 0 h 144779"/>
                    <a:gd name="connsiteX4" fmla="*/ 142875 w 142875"/>
                    <a:gd name="connsiteY4" fmla="*/ 80010 h 144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875" h="144779">
                      <a:moveTo>
                        <a:pt x="142875" y="80010"/>
                      </a:moveTo>
                      <a:cubicBezTo>
                        <a:pt x="142875" y="123825"/>
                        <a:pt x="110490" y="144780"/>
                        <a:pt x="71438" y="144780"/>
                      </a:cubicBezTo>
                      <a:cubicBezTo>
                        <a:pt x="31432" y="144780"/>
                        <a:pt x="0" y="124778"/>
                        <a:pt x="0" y="80010"/>
                      </a:cubicBezTo>
                      <a:cubicBezTo>
                        <a:pt x="0" y="36195"/>
                        <a:pt x="32385" y="0"/>
                        <a:pt x="71438" y="0"/>
                      </a:cubicBezTo>
                      <a:cubicBezTo>
                        <a:pt x="110490" y="0"/>
                        <a:pt x="142875" y="36195"/>
                        <a:pt x="142875" y="8001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7" name="任意多边形 244"/>
                <p:cNvSpPr/>
                <p:nvPr/>
              </p:nvSpPr>
              <p:spPr>
                <a:xfrm>
                  <a:off x="3274694" y="2323147"/>
                  <a:ext cx="167640" cy="167640"/>
                </a:xfrm>
                <a:custGeom>
                  <a:avLst/>
                  <a:gdLst>
                    <a:gd name="connsiteX0" fmla="*/ 167640 w 167640"/>
                    <a:gd name="connsiteY0" fmla="*/ 92393 h 167640"/>
                    <a:gd name="connsiteX1" fmla="*/ 83820 w 167640"/>
                    <a:gd name="connsiteY1" fmla="*/ 167640 h 167640"/>
                    <a:gd name="connsiteX2" fmla="*/ 0 w 167640"/>
                    <a:gd name="connsiteY2" fmla="*/ 92393 h 167640"/>
                    <a:gd name="connsiteX3" fmla="*/ 83820 w 167640"/>
                    <a:gd name="connsiteY3" fmla="*/ 0 h 167640"/>
                    <a:gd name="connsiteX4" fmla="*/ 167640 w 167640"/>
                    <a:gd name="connsiteY4" fmla="*/ 92393 h 1676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167640">
                      <a:moveTo>
                        <a:pt x="167640" y="92393"/>
                      </a:moveTo>
                      <a:cubicBezTo>
                        <a:pt x="167640" y="143828"/>
                        <a:pt x="130493" y="167640"/>
                        <a:pt x="83820" y="167640"/>
                      </a:cubicBezTo>
                      <a:cubicBezTo>
                        <a:pt x="38100" y="167640"/>
                        <a:pt x="0" y="143828"/>
                        <a:pt x="0" y="92393"/>
                      </a:cubicBezTo>
                      <a:cubicBezTo>
                        <a:pt x="0" y="40958"/>
                        <a:pt x="37148" y="0"/>
                        <a:pt x="83820" y="0"/>
                      </a:cubicBezTo>
                      <a:cubicBezTo>
                        <a:pt x="129540" y="0"/>
                        <a:pt x="167640" y="40958"/>
                        <a:pt x="167640" y="9239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7" name="任意多边形 245"/>
              <p:cNvSpPr/>
              <p:nvPr/>
            </p:nvSpPr>
            <p:spPr>
              <a:xfrm>
                <a:off x="2830829" y="2681287"/>
                <a:ext cx="247650" cy="92392"/>
              </a:xfrm>
              <a:custGeom>
                <a:avLst/>
                <a:gdLst>
                  <a:gd name="connsiteX0" fmla="*/ 65723 w 247650"/>
                  <a:gd name="connsiteY0" fmla="*/ 26670 h 92392"/>
                  <a:gd name="connsiteX1" fmla="*/ 86677 w 247650"/>
                  <a:gd name="connsiteY1" fmla="*/ 30480 h 92392"/>
                  <a:gd name="connsiteX2" fmla="*/ 155258 w 247650"/>
                  <a:gd name="connsiteY2" fmla="*/ 0 h 92392"/>
                  <a:gd name="connsiteX3" fmla="*/ 247650 w 247650"/>
                  <a:gd name="connsiteY3" fmla="*/ 92393 h 92392"/>
                  <a:gd name="connsiteX4" fmla="*/ 130493 w 247650"/>
                  <a:gd name="connsiteY4" fmla="*/ 92393 h 92392"/>
                  <a:gd name="connsiteX5" fmla="*/ 61913 w 247650"/>
                  <a:gd name="connsiteY5" fmla="*/ 92393 h 92392"/>
                  <a:gd name="connsiteX6" fmla="*/ 0 w 247650"/>
                  <a:gd name="connsiteY6" fmla="*/ 92393 h 92392"/>
                  <a:gd name="connsiteX7" fmla="*/ 65723 w 247650"/>
                  <a:gd name="connsiteY7" fmla="*/ 26670 h 92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7650" h="92392">
                    <a:moveTo>
                      <a:pt x="65723" y="26670"/>
                    </a:moveTo>
                    <a:cubicBezTo>
                      <a:pt x="73343" y="26670"/>
                      <a:pt x="80010" y="27622"/>
                      <a:pt x="86677" y="30480"/>
                    </a:cubicBezTo>
                    <a:cubicBezTo>
                      <a:pt x="103823" y="11430"/>
                      <a:pt x="127635" y="0"/>
                      <a:pt x="155258" y="0"/>
                    </a:cubicBezTo>
                    <a:cubicBezTo>
                      <a:pt x="206693" y="0"/>
                      <a:pt x="247650" y="40957"/>
                      <a:pt x="247650" y="92393"/>
                    </a:cubicBezTo>
                    <a:lnTo>
                      <a:pt x="130493" y="92393"/>
                    </a:lnTo>
                    <a:lnTo>
                      <a:pt x="61913" y="92393"/>
                    </a:lnTo>
                    <a:lnTo>
                      <a:pt x="0" y="92393"/>
                    </a:lnTo>
                    <a:cubicBezTo>
                      <a:pt x="0" y="56197"/>
                      <a:pt x="29528" y="26670"/>
                      <a:pt x="65723" y="2667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pic>
        <p:nvPicPr>
          <p:cNvPr id="87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195" y="1056005"/>
            <a:ext cx="11815445" cy="4725670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444245" y="2483912"/>
            <a:ext cx="5419185" cy="895350"/>
          </a:xfrm>
        </p:spPr>
        <p:txBody>
          <a:bodyPr>
            <a:normAutofit/>
          </a:bodyPr>
          <a:lstStyle/>
          <a:p>
            <a:r>
              <a:rPr lang="en-US" altLang="zh-CN" sz="3600" dirty="0"/>
              <a:t>GAN</a:t>
            </a:r>
            <a:endParaRPr lang="zh-CN" altLang="en-US" sz="3600" dirty="0"/>
          </a:p>
        </p:txBody>
      </p:sp>
      <p:sp>
        <p:nvSpPr>
          <p:cNvPr id="9" name="文本框 8"/>
          <p:cNvSpPr txBox="1"/>
          <p:nvPr/>
        </p:nvSpPr>
        <p:spPr>
          <a:xfrm>
            <a:off x="4218890" y="2853416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5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2" name="标题 4"/>
          <p:cNvSpPr txBox="1"/>
          <p:nvPr/>
        </p:nvSpPr>
        <p:spPr>
          <a:xfrm>
            <a:off x="5444245" y="2981325"/>
            <a:ext cx="5419185" cy="89535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b="0" dirty="0"/>
              <a:t>Generative Adversarial Network</a:t>
            </a:r>
            <a:endParaRPr lang="zh-CN" altLang="en-US" sz="2000" b="0" dirty="0"/>
          </a:p>
        </p:txBody>
      </p:sp>
    </p:spTree>
    <p:custDataLst>
      <p:tags r:id="rId1"/>
    </p:custData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How GAN works in image super resolutio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4</a:t>
            </a:fld>
            <a:endParaRPr lang="zh-CN" altLang="en-US"/>
          </a:p>
        </p:txBody>
      </p:sp>
      <p:grpSp>
        <p:nvGrpSpPr>
          <p:cNvPr id="5" name="组合 4"/>
          <p:cNvGrpSpPr/>
          <p:nvPr/>
        </p:nvGrpSpPr>
        <p:grpSpPr>
          <a:xfrm>
            <a:off x="8358909" y="5477164"/>
            <a:ext cx="3719729" cy="1298762"/>
            <a:chOff x="2772569" y="2151697"/>
            <a:chExt cx="6719888" cy="2554605"/>
          </a:xfrm>
        </p:grpSpPr>
        <p:grpSp>
          <p:nvGrpSpPr>
            <p:cNvPr id="6" name="组合 5"/>
            <p:cNvGrpSpPr/>
            <p:nvPr/>
          </p:nvGrpSpPr>
          <p:grpSpPr>
            <a:xfrm>
              <a:off x="7873207" y="2151697"/>
              <a:ext cx="1093469" cy="2553652"/>
              <a:chOff x="7838122" y="219075"/>
              <a:chExt cx="1093469" cy="2553652"/>
            </a:xfrm>
          </p:grpSpPr>
          <p:sp>
            <p:nvSpPr>
              <p:cNvPr id="79" name="任意多边形 157"/>
              <p:cNvSpPr/>
              <p:nvPr/>
            </p:nvSpPr>
            <p:spPr>
              <a:xfrm>
                <a:off x="8309609" y="280987"/>
                <a:ext cx="151447" cy="2491740"/>
              </a:xfrm>
              <a:custGeom>
                <a:avLst/>
                <a:gdLst>
                  <a:gd name="connsiteX0" fmla="*/ 151447 w 151447"/>
                  <a:gd name="connsiteY0" fmla="*/ 2491740 h 2491740"/>
                  <a:gd name="connsiteX1" fmla="*/ 0 w 151447"/>
                  <a:gd name="connsiteY1" fmla="*/ 2491740 h 2491740"/>
                  <a:gd name="connsiteX2" fmla="*/ 52388 w 151447"/>
                  <a:gd name="connsiteY2" fmla="*/ 0 h 2491740"/>
                  <a:gd name="connsiteX3" fmla="*/ 99060 w 151447"/>
                  <a:gd name="connsiteY3" fmla="*/ 0 h 249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1447" h="2491740">
                    <a:moveTo>
                      <a:pt x="151447" y="2491740"/>
                    </a:moveTo>
                    <a:lnTo>
                      <a:pt x="0" y="2491740"/>
                    </a:lnTo>
                    <a:lnTo>
                      <a:pt x="52388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80" name="组合 79"/>
              <p:cNvGrpSpPr/>
              <p:nvPr/>
            </p:nvGrpSpPr>
            <p:grpSpPr>
              <a:xfrm>
                <a:off x="7838122" y="219075"/>
                <a:ext cx="1093469" cy="1788795"/>
                <a:chOff x="7838122" y="219075"/>
                <a:chExt cx="1093469" cy="1788795"/>
              </a:xfrm>
            </p:grpSpPr>
            <p:sp>
              <p:nvSpPr>
                <p:cNvPr id="81" name="任意多边形 159"/>
                <p:cNvSpPr/>
                <p:nvPr/>
              </p:nvSpPr>
              <p:spPr>
                <a:xfrm>
                  <a:off x="7838122" y="1418272"/>
                  <a:ext cx="1093469" cy="589597"/>
                </a:xfrm>
                <a:custGeom>
                  <a:avLst/>
                  <a:gdLst>
                    <a:gd name="connsiteX0" fmla="*/ 542925 w 1093469"/>
                    <a:gd name="connsiteY0" fmla="*/ 0 h 589597"/>
                    <a:gd name="connsiteX1" fmla="*/ 0 w 1093469"/>
                    <a:gd name="connsiteY1" fmla="*/ 589598 h 589597"/>
                    <a:gd name="connsiteX2" fmla="*/ 546735 w 1093469"/>
                    <a:gd name="connsiteY2" fmla="*/ 589598 h 589597"/>
                    <a:gd name="connsiteX3" fmla="*/ 1093470 w 1093469"/>
                    <a:gd name="connsiteY3" fmla="*/ 589598 h 589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93469" h="589597">
                      <a:moveTo>
                        <a:pt x="542925" y="0"/>
                      </a:moveTo>
                      <a:lnTo>
                        <a:pt x="0" y="589598"/>
                      </a:lnTo>
                      <a:lnTo>
                        <a:pt x="546735" y="589598"/>
                      </a:lnTo>
                      <a:lnTo>
                        <a:pt x="1093470" y="589598"/>
                      </a:ln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2" name="任意多边形 160"/>
                <p:cNvSpPr/>
                <p:nvPr/>
              </p:nvSpPr>
              <p:spPr>
                <a:xfrm>
                  <a:off x="7892414" y="1091564"/>
                  <a:ext cx="979170" cy="480060"/>
                </a:xfrm>
                <a:custGeom>
                  <a:avLst/>
                  <a:gdLst>
                    <a:gd name="connsiteX0" fmla="*/ 486728 w 979170"/>
                    <a:gd name="connsiteY0" fmla="*/ 0 h 480060"/>
                    <a:gd name="connsiteX1" fmla="*/ 0 w 979170"/>
                    <a:gd name="connsiteY1" fmla="*/ 480060 h 480060"/>
                    <a:gd name="connsiteX2" fmla="*/ 489585 w 979170"/>
                    <a:gd name="connsiteY2" fmla="*/ 480060 h 480060"/>
                    <a:gd name="connsiteX3" fmla="*/ 979170 w 979170"/>
                    <a:gd name="connsiteY3" fmla="*/ 480060 h 4800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9170" h="480060">
                      <a:moveTo>
                        <a:pt x="486728" y="0"/>
                      </a:moveTo>
                      <a:lnTo>
                        <a:pt x="0" y="480060"/>
                      </a:lnTo>
                      <a:lnTo>
                        <a:pt x="489585" y="480060"/>
                      </a:lnTo>
                      <a:lnTo>
                        <a:pt x="979170" y="480060"/>
                      </a:ln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3" name="任意多边形 161"/>
                <p:cNvSpPr/>
                <p:nvPr/>
              </p:nvSpPr>
              <p:spPr>
                <a:xfrm>
                  <a:off x="7937181" y="819150"/>
                  <a:ext cx="886777" cy="398145"/>
                </a:xfrm>
                <a:custGeom>
                  <a:avLst/>
                  <a:gdLst>
                    <a:gd name="connsiteX0" fmla="*/ 441007 w 886777"/>
                    <a:gd name="connsiteY0" fmla="*/ 0 h 398145"/>
                    <a:gd name="connsiteX1" fmla="*/ 0 w 886777"/>
                    <a:gd name="connsiteY1" fmla="*/ 398145 h 398145"/>
                    <a:gd name="connsiteX2" fmla="*/ 442913 w 886777"/>
                    <a:gd name="connsiteY2" fmla="*/ 398145 h 398145"/>
                    <a:gd name="connsiteX3" fmla="*/ 886778 w 886777"/>
                    <a:gd name="connsiteY3" fmla="*/ 398145 h 3981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86777" h="398145">
                      <a:moveTo>
                        <a:pt x="441007" y="0"/>
                      </a:moveTo>
                      <a:lnTo>
                        <a:pt x="0" y="398145"/>
                      </a:lnTo>
                      <a:lnTo>
                        <a:pt x="442913" y="398145"/>
                      </a:lnTo>
                      <a:lnTo>
                        <a:pt x="886778" y="398145"/>
                      </a:ln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4" name="任意多边形 162"/>
                <p:cNvSpPr/>
                <p:nvPr/>
              </p:nvSpPr>
              <p:spPr>
                <a:xfrm>
                  <a:off x="7973376" y="587692"/>
                  <a:ext cx="809625" cy="336232"/>
                </a:xfrm>
                <a:custGeom>
                  <a:avLst/>
                  <a:gdLst>
                    <a:gd name="connsiteX0" fmla="*/ 402908 w 809625"/>
                    <a:gd name="connsiteY0" fmla="*/ 0 h 336232"/>
                    <a:gd name="connsiteX1" fmla="*/ 0 w 809625"/>
                    <a:gd name="connsiteY1" fmla="*/ 336233 h 336232"/>
                    <a:gd name="connsiteX2" fmla="*/ 404813 w 809625"/>
                    <a:gd name="connsiteY2" fmla="*/ 336233 h 336232"/>
                    <a:gd name="connsiteX3" fmla="*/ 809625 w 809625"/>
                    <a:gd name="connsiteY3" fmla="*/ 336233 h 336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9625" h="336232">
                      <a:moveTo>
                        <a:pt x="402908" y="0"/>
                      </a:moveTo>
                      <a:lnTo>
                        <a:pt x="0" y="336233"/>
                      </a:lnTo>
                      <a:lnTo>
                        <a:pt x="404813" y="336233"/>
                      </a:lnTo>
                      <a:lnTo>
                        <a:pt x="809625" y="336233"/>
                      </a:lnTo>
                      <a:close/>
                    </a:path>
                  </a:pathLst>
                </a:custGeom>
                <a:solidFill>
                  <a:srgbClr val="45BC5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5" name="任意多边形 163"/>
                <p:cNvSpPr/>
                <p:nvPr/>
              </p:nvSpPr>
              <p:spPr>
                <a:xfrm>
                  <a:off x="8003856" y="390525"/>
                  <a:ext cx="745807" cy="286702"/>
                </a:xfrm>
                <a:custGeom>
                  <a:avLst/>
                  <a:gdLst>
                    <a:gd name="connsiteX0" fmla="*/ 371475 w 745807"/>
                    <a:gd name="connsiteY0" fmla="*/ 0 h 286702"/>
                    <a:gd name="connsiteX1" fmla="*/ 0 w 745807"/>
                    <a:gd name="connsiteY1" fmla="*/ 286703 h 286702"/>
                    <a:gd name="connsiteX2" fmla="*/ 373380 w 745807"/>
                    <a:gd name="connsiteY2" fmla="*/ 286703 h 286702"/>
                    <a:gd name="connsiteX3" fmla="*/ 745807 w 745807"/>
                    <a:gd name="connsiteY3" fmla="*/ 286703 h 286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5807" h="286702">
                      <a:moveTo>
                        <a:pt x="371475" y="0"/>
                      </a:moveTo>
                      <a:lnTo>
                        <a:pt x="0" y="286703"/>
                      </a:lnTo>
                      <a:lnTo>
                        <a:pt x="373380" y="286703"/>
                      </a:lnTo>
                      <a:lnTo>
                        <a:pt x="745807" y="286703"/>
                      </a:ln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6" name="任意多边形 164"/>
                <p:cNvSpPr/>
                <p:nvPr/>
              </p:nvSpPr>
              <p:spPr>
                <a:xfrm>
                  <a:off x="8030526" y="219075"/>
                  <a:ext cx="690562" cy="248602"/>
                </a:xfrm>
                <a:custGeom>
                  <a:avLst/>
                  <a:gdLst>
                    <a:gd name="connsiteX0" fmla="*/ 343853 w 690562"/>
                    <a:gd name="connsiteY0" fmla="*/ 0 h 248602"/>
                    <a:gd name="connsiteX1" fmla="*/ 0 w 690562"/>
                    <a:gd name="connsiteY1" fmla="*/ 248603 h 248602"/>
                    <a:gd name="connsiteX2" fmla="*/ 344805 w 690562"/>
                    <a:gd name="connsiteY2" fmla="*/ 248603 h 248602"/>
                    <a:gd name="connsiteX3" fmla="*/ 690563 w 690562"/>
                    <a:gd name="connsiteY3" fmla="*/ 248603 h 2486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0562" h="248602">
                      <a:moveTo>
                        <a:pt x="343853" y="0"/>
                      </a:moveTo>
                      <a:lnTo>
                        <a:pt x="0" y="248603"/>
                      </a:lnTo>
                      <a:lnTo>
                        <a:pt x="344805" y="248603"/>
                      </a:lnTo>
                      <a:lnTo>
                        <a:pt x="690563" y="248603"/>
                      </a:ln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7" name="组合 6"/>
            <p:cNvGrpSpPr/>
            <p:nvPr/>
          </p:nvGrpSpPr>
          <p:grpSpPr>
            <a:xfrm>
              <a:off x="5240497" y="2258376"/>
              <a:ext cx="1892617" cy="2446972"/>
              <a:chOff x="5205412" y="325754"/>
              <a:chExt cx="1892617" cy="2446972"/>
            </a:xfrm>
          </p:grpSpPr>
          <p:sp>
            <p:nvSpPr>
              <p:cNvPr id="67" name="任意多边形 168"/>
              <p:cNvSpPr/>
              <p:nvPr/>
            </p:nvSpPr>
            <p:spPr>
              <a:xfrm>
                <a:off x="6055042" y="425767"/>
                <a:ext cx="194309" cy="2346960"/>
              </a:xfrm>
              <a:custGeom>
                <a:avLst/>
                <a:gdLst>
                  <a:gd name="connsiteX0" fmla="*/ 194310 w 194309"/>
                  <a:gd name="connsiteY0" fmla="*/ 2346960 h 2346960"/>
                  <a:gd name="connsiteX1" fmla="*/ 0 w 194309"/>
                  <a:gd name="connsiteY1" fmla="*/ 2346960 h 2346960"/>
                  <a:gd name="connsiteX2" fmla="*/ 66675 w 194309"/>
                  <a:gd name="connsiteY2" fmla="*/ 0 h 2346960"/>
                  <a:gd name="connsiteX3" fmla="*/ 127635 w 194309"/>
                  <a:gd name="connsiteY3" fmla="*/ 0 h 2346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4309" h="2346960">
                    <a:moveTo>
                      <a:pt x="194310" y="2346960"/>
                    </a:moveTo>
                    <a:lnTo>
                      <a:pt x="0" y="2346960"/>
                    </a:lnTo>
                    <a:lnTo>
                      <a:pt x="66675" y="0"/>
                    </a:lnTo>
                    <a:lnTo>
                      <a:pt x="127635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8" name="组合 67"/>
              <p:cNvGrpSpPr/>
              <p:nvPr/>
            </p:nvGrpSpPr>
            <p:grpSpPr>
              <a:xfrm>
                <a:off x="5205412" y="325754"/>
                <a:ext cx="1892617" cy="1728787"/>
                <a:chOff x="5205412" y="325754"/>
                <a:chExt cx="1892617" cy="1728787"/>
              </a:xfrm>
            </p:grpSpPr>
            <p:sp>
              <p:nvSpPr>
                <p:cNvPr id="69" name="任意多边形 170"/>
                <p:cNvSpPr/>
                <p:nvPr/>
              </p:nvSpPr>
              <p:spPr>
                <a:xfrm>
                  <a:off x="5354954" y="596264"/>
                  <a:ext cx="741044" cy="741045"/>
                </a:xfrm>
                <a:custGeom>
                  <a:avLst/>
                  <a:gdLst>
                    <a:gd name="connsiteX0" fmla="*/ 741045 w 741044"/>
                    <a:gd name="connsiteY0" fmla="*/ 370523 h 741045"/>
                    <a:gd name="connsiteX1" fmla="*/ 370522 w 741044"/>
                    <a:gd name="connsiteY1" fmla="*/ 741045 h 741045"/>
                    <a:gd name="connsiteX2" fmla="*/ 0 w 741044"/>
                    <a:gd name="connsiteY2" fmla="*/ 370523 h 741045"/>
                    <a:gd name="connsiteX3" fmla="*/ 370522 w 741044"/>
                    <a:gd name="connsiteY3" fmla="*/ 0 h 741045"/>
                    <a:gd name="connsiteX4" fmla="*/ 741045 w 741044"/>
                    <a:gd name="connsiteY4" fmla="*/ 370523 h 741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1044" h="741045">
                      <a:moveTo>
                        <a:pt x="741045" y="370523"/>
                      </a:moveTo>
                      <a:cubicBezTo>
                        <a:pt x="741045" y="575310"/>
                        <a:pt x="575310" y="741045"/>
                        <a:pt x="370522" y="741045"/>
                      </a:cubicBezTo>
                      <a:cubicBezTo>
                        <a:pt x="165735" y="741045"/>
                        <a:pt x="0" y="575310"/>
                        <a:pt x="0" y="370523"/>
                      </a:cubicBezTo>
                      <a:cubicBezTo>
                        <a:pt x="0" y="165735"/>
                        <a:pt x="165735" y="0"/>
                        <a:pt x="370522" y="0"/>
                      </a:cubicBezTo>
                      <a:cubicBezTo>
                        <a:pt x="574357" y="0"/>
                        <a:pt x="741045" y="165735"/>
                        <a:pt x="741045" y="370523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0" name="任意多边形 171"/>
                <p:cNvSpPr/>
                <p:nvPr/>
              </p:nvSpPr>
              <p:spPr>
                <a:xfrm>
                  <a:off x="6587489" y="866769"/>
                  <a:ext cx="510540" cy="510545"/>
                </a:xfrm>
                <a:custGeom>
                  <a:avLst/>
                  <a:gdLst>
                    <a:gd name="connsiteX0" fmla="*/ 510540 w 510540"/>
                    <a:gd name="connsiteY0" fmla="*/ 255276 h 510545"/>
                    <a:gd name="connsiteX1" fmla="*/ 255270 w 510540"/>
                    <a:gd name="connsiteY1" fmla="*/ 510546 h 510545"/>
                    <a:gd name="connsiteX2" fmla="*/ 0 w 510540"/>
                    <a:gd name="connsiteY2" fmla="*/ 255276 h 510545"/>
                    <a:gd name="connsiteX3" fmla="*/ 255270 w 510540"/>
                    <a:gd name="connsiteY3" fmla="*/ 6 h 510545"/>
                    <a:gd name="connsiteX4" fmla="*/ 510540 w 510540"/>
                    <a:gd name="connsiteY4" fmla="*/ 255276 h 5105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0540" h="510545">
                      <a:moveTo>
                        <a:pt x="510540" y="255276"/>
                      </a:moveTo>
                      <a:cubicBezTo>
                        <a:pt x="510540" y="396246"/>
                        <a:pt x="396240" y="510546"/>
                        <a:pt x="255270" y="510546"/>
                      </a:cubicBezTo>
                      <a:cubicBezTo>
                        <a:pt x="114300" y="510546"/>
                        <a:pt x="0" y="396246"/>
                        <a:pt x="0" y="255276"/>
                      </a:cubicBezTo>
                      <a:cubicBezTo>
                        <a:pt x="0" y="114306"/>
                        <a:pt x="114300" y="6"/>
                        <a:pt x="255270" y="6"/>
                      </a:cubicBezTo>
                      <a:cubicBezTo>
                        <a:pt x="396240" y="-947"/>
                        <a:pt x="510540" y="114306"/>
                        <a:pt x="510540" y="255276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1" name="任意多边形 172"/>
                <p:cNvSpPr/>
                <p:nvPr/>
              </p:nvSpPr>
              <p:spPr>
                <a:xfrm>
                  <a:off x="5427344" y="545782"/>
                  <a:ext cx="1508760" cy="1508759"/>
                </a:xfrm>
                <a:custGeom>
                  <a:avLst/>
                  <a:gdLst>
                    <a:gd name="connsiteX0" fmla="*/ 1508760 w 1508760"/>
                    <a:gd name="connsiteY0" fmla="*/ 754380 h 1508759"/>
                    <a:gd name="connsiteX1" fmla="*/ 754380 w 1508760"/>
                    <a:gd name="connsiteY1" fmla="*/ 1508760 h 1508759"/>
                    <a:gd name="connsiteX2" fmla="*/ 0 w 1508760"/>
                    <a:gd name="connsiteY2" fmla="*/ 754380 h 1508759"/>
                    <a:gd name="connsiteX3" fmla="*/ 754380 w 1508760"/>
                    <a:gd name="connsiteY3" fmla="*/ 0 h 1508759"/>
                    <a:gd name="connsiteX4" fmla="*/ 1508760 w 1508760"/>
                    <a:gd name="connsiteY4" fmla="*/ 754380 h 1508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760" h="1508759">
                      <a:moveTo>
                        <a:pt x="1508760" y="754380"/>
                      </a:moveTo>
                      <a:cubicBezTo>
                        <a:pt x="1508760" y="1170623"/>
                        <a:pt x="1171575" y="1508760"/>
                        <a:pt x="754380" y="1508760"/>
                      </a:cubicBezTo>
                      <a:cubicBezTo>
                        <a:pt x="338138" y="1508760"/>
                        <a:pt x="0" y="1171575"/>
                        <a:pt x="0" y="754380"/>
                      </a:cubicBezTo>
                      <a:cubicBezTo>
                        <a:pt x="0" y="338138"/>
                        <a:pt x="337185" y="0"/>
                        <a:pt x="754380" y="0"/>
                      </a:cubicBezTo>
                      <a:cubicBezTo>
                        <a:pt x="1171575" y="953"/>
                        <a:pt x="1508760" y="338138"/>
                        <a:pt x="1508760" y="754380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2" name="任意多边形 173"/>
                <p:cNvSpPr/>
                <p:nvPr/>
              </p:nvSpPr>
              <p:spPr>
                <a:xfrm>
                  <a:off x="5205412" y="1026795"/>
                  <a:ext cx="798194" cy="798195"/>
                </a:xfrm>
                <a:custGeom>
                  <a:avLst/>
                  <a:gdLst>
                    <a:gd name="connsiteX0" fmla="*/ 798195 w 798194"/>
                    <a:gd name="connsiteY0" fmla="*/ 399097 h 798195"/>
                    <a:gd name="connsiteX1" fmla="*/ 399097 w 798194"/>
                    <a:gd name="connsiteY1" fmla="*/ 798195 h 798195"/>
                    <a:gd name="connsiteX2" fmla="*/ 0 w 798194"/>
                    <a:gd name="connsiteY2" fmla="*/ 399097 h 798195"/>
                    <a:gd name="connsiteX3" fmla="*/ 399097 w 798194"/>
                    <a:gd name="connsiteY3" fmla="*/ 0 h 798195"/>
                    <a:gd name="connsiteX4" fmla="*/ 798195 w 798194"/>
                    <a:gd name="connsiteY4" fmla="*/ 399097 h 798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98194" h="798195">
                      <a:moveTo>
                        <a:pt x="798195" y="399097"/>
                      </a:moveTo>
                      <a:cubicBezTo>
                        <a:pt x="798195" y="619125"/>
                        <a:pt x="619125" y="798195"/>
                        <a:pt x="399097" y="798195"/>
                      </a:cubicBezTo>
                      <a:cubicBezTo>
                        <a:pt x="179070" y="798195"/>
                        <a:pt x="0" y="619125"/>
                        <a:pt x="0" y="399097"/>
                      </a:cubicBezTo>
                      <a:cubicBezTo>
                        <a:pt x="0" y="179070"/>
                        <a:pt x="179070" y="0"/>
                        <a:pt x="399097" y="0"/>
                      </a:cubicBezTo>
                      <a:cubicBezTo>
                        <a:pt x="619125" y="0"/>
                        <a:pt x="798195" y="179070"/>
                        <a:pt x="798195" y="399097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3" name="任意多边形 174"/>
                <p:cNvSpPr/>
                <p:nvPr/>
              </p:nvSpPr>
              <p:spPr>
                <a:xfrm>
                  <a:off x="6276021" y="1425892"/>
                  <a:ext cx="609600" cy="609600"/>
                </a:xfrm>
                <a:custGeom>
                  <a:avLst/>
                  <a:gdLst>
                    <a:gd name="connsiteX0" fmla="*/ 609600 w 609600"/>
                    <a:gd name="connsiteY0" fmla="*/ 304800 h 609600"/>
                    <a:gd name="connsiteX1" fmla="*/ 304800 w 609600"/>
                    <a:gd name="connsiteY1" fmla="*/ 609600 h 609600"/>
                    <a:gd name="connsiteX2" fmla="*/ 0 w 609600"/>
                    <a:gd name="connsiteY2" fmla="*/ 304800 h 609600"/>
                    <a:gd name="connsiteX3" fmla="*/ 304800 w 609600"/>
                    <a:gd name="connsiteY3" fmla="*/ 0 h 609600"/>
                    <a:gd name="connsiteX4" fmla="*/ 609600 w 609600"/>
                    <a:gd name="connsiteY4" fmla="*/ 304800 h 609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9600" h="609600">
                      <a:moveTo>
                        <a:pt x="609600" y="304800"/>
                      </a:moveTo>
                      <a:cubicBezTo>
                        <a:pt x="609600" y="473392"/>
                        <a:pt x="473393" y="609600"/>
                        <a:pt x="304800" y="609600"/>
                      </a:cubicBezTo>
                      <a:cubicBezTo>
                        <a:pt x="136208" y="609600"/>
                        <a:pt x="0" y="473392"/>
                        <a:pt x="0" y="304800"/>
                      </a:cubicBezTo>
                      <a:cubicBezTo>
                        <a:pt x="0" y="136208"/>
                        <a:pt x="136208" y="0"/>
                        <a:pt x="304800" y="0"/>
                      </a:cubicBezTo>
                      <a:cubicBezTo>
                        <a:pt x="473393" y="0"/>
                        <a:pt x="609600" y="136208"/>
                        <a:pt x="609600" y="30480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4" name="任意多边形 175"/>
                <p:cNvSpPr/>
                <p:nvPr/>
              </p:nvSpPr>
              <p:spPr>
                <a:xfrm>
                  <a:off x="5838824" y="325754"/>
                  <a:ext cx="1003934" cy="1003934"/>
                </a:xfrm>
                <a:custGeom>
                  <a:avLst/>
                  <a:gdLst>
                    <a:gd name="connsiteX0" fmla="*/ 1003935 w 1003934"/>
                    <a:gd name="connsiteY0" fmla="*/ 501968 h 1003934"/>
                    <a:gd name="connsiteX1" fmla="*/ 501968 w 1003934"/>
                    <a:gd name="connsiteY1" fmla="*/ 1003935 h 1003934"/>
                    <a:gd name="connsiteX2" fmla="*/ 0 w 1003934"/>
                    <a:gd name="connsiteY2" fmla="*/ 501968 h 1003934"/>
                    <a:gd name="connsiteX3" fmla="*/ 501968 w 1003934"/>
                    <a:gd name="connsiteY3" fmla="*/ 0 h 1003934"/>
                    <a:gd name="connsiteX4" fmla="*/ 1003935 w 1003934"/>
                    <a:gd name="connsiteY4" fmla="*/ 501968 h 1003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3934" h="1003934">
                      <a:moveTo>
                        <a:pt x="1003935" y="501968"/>
                      </a:moveTo>
                      <a:cubicBezTo>
                        <a:pt x="1003935" y="779145"/>
                        <a:pt x="779145" y="1003935"/>
                        <a:pt x="501968" y="1003935"/>
                      </a:cubicBezTo>
                      <a:cubicBezTo>
                        <a:pt x="224790" y="1003935"/>
                        <a:pt x="0" y="779145"/>
                        <a:pt x="0" y="501968"/>
                      </a:cubicBezTo>
                      <a:cubicBezTo>
                        <a:pt x="0" y="224790"/>
                        <a:pt x="224790" y="0"/>
                        <a:pt x="501968" y="0"/>
                      </a:cubicBezTo>
                      <a:cubicBezTo>
                        <a:pt x="779145" y="0"/>
                        <a:pt x="1003935" y="224790"/>
                        <a:pt x="1003935" y="501968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5" name="任意多边形 176"/>
                <p:cNvSpPr/>
                <p:nvPr/>
              </p:nvSpPr>
              <p:spPr>
                <a:xfrm>
                  <a:off x="6095046" y="1067752"/>
                  <a:ext cx="716280" cy="716280"/>
                </a:xfrm>
                <a:custGeom>
                  <a:avLst/>
                  <a:gdLst>
                    <a:gd name="connsiteX0" fmla="*/ 716280 w 716280"/>
                    <a:gd name="connsiteY0" fmla="*/ 358140 h 716280"/>
                    <a:gd name="connsiteX1" fmla="*/ 358140 w 716280"/>
                    <a:gd name="connsiteY1" fmla="*/ 716280 h 716280"/>
                    <a:gd name="connsiteX2" fmla="*/ 0 w 716280"/>
                    <a:gd name="connsiteY2" fmla="*/ 358140 h 716280"/>
                    <a:gd name="connsiteX3" fmla="*/ 358140 w 716280"/>
                    <a:gd name="connsiteY3" fmla="*/ 0 h 716280"/>
                    <a:gd name="connsiteX4" fmla="*/ 716280 w 716280"/>
                    <a:gd name="connsiteY4" fmla="*/ 358140 h 716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6280" h="716280">
                      <a:moveTo>
                        <a:pt x="716280" y="358140"/>
                      </a:moveTo>
                      <a:cubicBezTo>
                        <a:pt x="716280" y="556260"/>
                        <a:pt x="556260" y="716280"/>
                        <a:pt x="358140" y="716280"/>
                      </a:cubicBezTo>
                      <a:cubicBezTo>
                        <a:pt x="160020" y="716280"/>
                        <a:pt x="0" y="556260"/>
                        <a:pt x="0" y="358140"/>
                      </a:cubicBezTo>
                      <a:cubicBezTo>
                        <a:pt x="0" y="160020"/>
                        <a:pt x="160020" y="0"/>
                        <a:pt x="358140" y="0"/>
                      </a:cubicBezTo>
                      <a:cubicBezTo>
                        <a:pt x="556260" y="0"/>
                        <a:pt x="716280" y="160020"/>
                        <a:pt x="716280" y="35814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" name="任意多边形 177"/>
                <p:cNvSpPr/>
                <p:nvPr/>
              </p:nvSpPr>
              <p:spPr>
                <a:xfrm>
                  <a:off x="5825489" y="1122045"/>
                  <a:ext cx="356234" cy="356234"/>
                </a:xfrm>
                <a:custGeom>
                  <a:avLst/>
                  <a:gdLst>
                    <a:gd name="connsiteX0" fmla="*/ 356235 w 356234"/>
                    <a:gd name="connsiteY0" fmla="*/ 178117 h 356234"/>
                    <a:gd name="connsiteX1" fmla="*/ 178117 w 356234"/>
                    <a:gd name="connsiteY1" fmla="*/ 356235 h 356234"/>
                    <a:gd name="connsiteX2" fmla="*/ 0 w 356234"/>
                    <a:gd name="connsiteY2" fmla="*/ 178117 h 356234"/>
                    <a:gd name="connsiteX3" fmla="*/ 178117 w 356234"/>
                    <a:gd name="connsiteY3" fmla="*/ 0 h 356234"/>
                    <a:gd name="connsiteX4" fmla="*/ 356235 w 356234"/>
                    <a:gd name="connsiteY4" fmla="*/ 178117 h 3562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234" h="356234">
                      <a:moveTo>
                        <a:pt x="356235" y="178117"/>
                      </a:moveTo>
                      <a:cubicBezTo>
                        <a:pt x="356235" y="276225"/>
                        <a:pt x="276225" y="356235"/>
                        <a:pt x="178117" y="356235"/>
                      </a:cubicBezTo>
                      <a:cubicBezTo>
                        <a:pt x="80010" y="356235"/>
                        <a:pt x="0" y="276225"/>
                        <a:pt x="0" y="178117"/>
                      </a:cubicBezTo>
                      <a:cubicBezTo>
                        <a:pt x="0" y="80010"/>
                        <a:pt x="80010" y="0"/>
                        <a:pt x="178117" y="0"/>
                      </a:cubicBezTo>
                      <a:cubicBezTo>
                        <a:pt x="277178" y="0"/>
                        <a:pt x="356235" y="80010"/>
                        <a:pt x="356235" y="178117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7" name="任意多边形 178"/>
                <p:cNvSpPr/>
                <p:nvPr/>
              </p:nvSpPr>
              <p:spPr>
                <a:xfrm>
                  <a:off x="6644639" y="1199197"/>
                  <a:ext cx="419100" cy="419099"/>
                </a:xfrm>
                <a:custGeom>
                  <a:avLst/>
                  <a:gdLst>
                    <a:gd name="connsiteX0" fmla="*/ 419100 w 419100"/>
                    <a:gd name="connsiteY0" fmla="*/ 209550 h 419099"/>
                    <a:gd name="connsiteX1" fmla="*/ 209550 w 419100"/>
                    <a:gd name="connsiteY1" fmla="*/ 419100 h 419099"/>
                    <a:gd name="connsiteX2" fmla="*/ 0 w 419100"/>
                    <a:gd name="connsiteY2" fmla="*/ 209550 h 419099"/>
                    <a:gd name="connsiteX3" fmla="*/ 209550 w 419100"/>
                    <a:gd name="connsiteY3" fmla="*/ 0 h 419099"/>
                    <a:gd name="connsiteX4" fmla="*/ 419100 w 419100"/>
                    <a:gd name="connsiteY4" fmla="*/ 209550 h 419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9100" h="419099">
                      <a:moveTo>
                        <a:pt x="419100" y="209550"/>
                      </a:moveTo>
                      <a:cubicBezTo>
                        <a:pt x="419100" y="325755"/>
                        <a:pt x="324803" y="419100"/>
                        <a:pt x="209550" y="419100"/>
                      </a:cubicBezTo>
                      <a:cubicBezTo>
                        <a:pt x="93345" y="419100"/>
                        <a:pt x="0" y="324803"/>
                        <a:pt x="0" y="209550"/>
                      </a:cubicBezTo>
                      <a:cubicBezTo>
                        <a:pt x="0" y="93345"/>
                        <a:pt x="94297" y="0"/>
                        <a:pt x="209550" y="0"/>
                      </a:cubicBezTo>
                      <a:cubicBezTo>
                        <a:pt x="325755" y="0"/>
                        <a:pt x="419100" y="94298"/>
                        <a:pt x="419100" y="20955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8" name="任意多边形 179"/>
                <p:cNvSpPr/>
                <p:nvPr/>
              </p:nvSpPr>
              <p:spPr>
                <a:xfrm>
                  <a:off x="5653087" y="1349692"/>
                  <a:ext cx="499109" cy="499110"/>
                </a:xfrm>
                <a:custGeom>
                  <a:avLst/>
                  <a:gdLst>
                    <a:gd name="connsiteX0" fmla="*/ 499110 w 499109"/>
                    <a:gd name="connsiteY0" fmla="*/ 249555 h 499110"/>
                    <a:gd name="connsiteX1" fmla="*/ 249555 w 499109"/>
                    <a:gd name="connsiteY1" fmla="*/ 499110 h 499110"/>
                    <a:gd name="connsiteX2" fmla="*/ 0 w 499109"/>
                    <a:gd name="connsiteY2" fmla="*/ 249555 h 499110"/>
                    <a:gd name="connsiteX3" fmla="*/ 249555 w 499109"/>
                    <a:gd name="connsiteY3" fmla="*/ 0 h 499110"/>
                    <a:gd name="connsiteX4" fmla="*/ 499110 w 499109"/>
                    <a:gd name="connsiteY4" fmla="*/ 249555 h 499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9109" h="499110">
                      <a:moveTo>
                        <a:pt x="499110" y="249555"/>
                      </a:moveTo>
                      <a:cubicBezTo>
                        <a:pt x="499110" y="387667"/>
                        <a:pt x="387668" y="499110"/>
                        <a:pt x="249555" y="499110"/>
                      </a:cubicBezTo>
                      <a:cubicBezTo>
                        <a:pt x="111443" y="499110"/>
                        <a:pt x="0" y="387667"/>
                        <a:pt x="0" y="249555"/>
                      </a:cubicBezTo>
                      <a:cubicBezTo>
                        <a:pt x="0" y="111442"/>
                        <a:pt x="111443" y="0"/>
                        <a:pt x="249555" y="0"/>
                      </a:cubicBezTo>
                      <a:cubicBezTo>
                        <a:pt x="386715" y="0"/>
                        <a:pt x="499110" y="111442"/>
                        <a:pt x="499110" y="249555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8" name="组合 7"/>
            <p:cNvGrpSpPr/>
            <p:nvPr/>
          </p:nvGrpSpPr>
          <p:grpSpPr>
            <a:xfrm>
              <a:off x="3252047" y="2196916"/>
              <a:ext cx="995191" cy="2508433"/>
              <a:chOff x="3216962" y="264294"/>
              <a:chExt cx="995191" cy="2508433"/>
            </a:xfrm>
          </p:grpSpPr>
          <p:sp>
            <p:nvSpPr>
              <p:cNvPr id="56" name="任意多边形 183"/>
              <p:cNvSpPr/>
              <p:nvPr/>
            </p:nvSpPr>
            <p:spPr>
              <a:xfrm>
                <a:off x="3281110" y="264294"/>
                <a:ext cx="868010" cy="2011450"/>
              </a:xfrm>
              <a:custGeom>
                <a:avLst/>
                <a:gdLst>
                  <a:gd name="connsiteX0" fmla="*/ 526032 w 868010"/>
                  <a:gd name="connsiteY0" fmla="*/ 1999798 h 2011450"/>
                  <a:gd name="connsiteX1" fmla="*/ 838452 w 868010"/>
                  <a:gd name="connsiteY1" fmla="*/ 1649278 h 2011450"/>
                  <a:gd name="connsiteX2" fmla="*/ 768919 w 868010"/>
                  <a:gd name="connsiteY2" fmla="*/ 172903 h 2011450"/>
                  <a:gd name="connsiteX3" fmla="*/ 105979 w 868010"/>
                  <a:gd name="connsiteY3" fmla="*/ 97656 h 2011450"/>
                  <a:gd name="connsiteX4" fmla="*/ 35495 w 868010"/>
                  <a:gd name="connsiteY4" fmla="*/ 1321618 h 2011450"/>
                  <a:gd name="connsiteX5" fmla="*/ 526032 w 868010"/>
                  <a:gd name="connsiteY5" fmla="*/ 1999798 h 201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8010" h="2011450">
                    <a:moveTo>
                      <a:pt x="526032" y="1999798"/>
                    </a:moveTo>
                    <a:cubicBezTo>
                      <a:pt x="643190" y="1975033"/>
                      <a:pt x="826069" y="1932171"/>
                      <a:pt x="838452" y="1649278"/>
                    </a:cubicBezTo>
                    <a:cubicBezTo>
                      <a:pt x="850835" y="1367338"/>
                      <a:pt x="927987" y="352926"/>
                      <a:pt x="768919" y="172903"/>
                    </a:cubicBezTo>
                    <a:cubicBezTo>
                      <a:pt x="609852" y="-8072"/>
                      <a:pt x="305052" y="-69032"/>
                      <a:pt x="105979" y="97656"/>
                    </a:cubicBezTo>
                    <a:cubicBezTo>
                      <a:pt x="-93093" y="263391"/>
                      <a:pt x="52639" y="1125403"/>
                      <a:pt x="35495" y="1321618"/>
                    </a:cubicBezTo>
                    <a:cubicBezTo>
                      <a:pt x="17397" y="1517833"/>
                      <a:pt x="42162" y="2100763"/>
                      <a:pt x="526032" y="19997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 184"/>
              <p:cNvSpPr/>
              <p:nvPr/>
            </p:nvSpPr>
            <p:spPr>
              <a:xfrm>
                <a:off x="3702315" y="1480537"/>
                <a:ext cx="489368" cy="580319"/>
              </a:xfrm>
              <a:custGeom>
                <a:avLst/>
                <a:gdLst>
                  <a:gd name="connsiteX0" fmla="*/ 230556 w 489368"/>
                  <a:gd name="connsiteY0" fmla="*/ 579720 h 580319"/>
                  <a:gd name="connsiteX1" fmla="*/ 462966 w 489368"/>
                  <a:gd name="connsiteY1" fmla="*/ 432083 h 580319"/>
                  <a:gd name="connsiteX2" fmla="*/ 380099 w 489368"/>
                  <a:gd name="connsiteY2" fmla="*/ 32985 h 580319"/>
                  <a:gd name="connsiteX3" fmla="*/ 21006 w 489368"/>
                  <a:gd name="connsiteY3" fmla="*/ 136808 h 580319"/>
                  <a:gd name="connsiteX4" fmla="*/ 230556 w 489368"/>
                  <a:gd name="connsiteY4" fmla="*/ 579720 h 580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9368" h="580319">
                    <a:moveTo>
                      <a:pt x="230556" y="579720"/>
                    </a:moveTo>
                    <a:cubicBezTo>
                      <a:pt x="335331" y="573053"/>
                      <a:pt x="423914" y="542573"/>
                      <a:pt x="462966" y="432083"/>
                    </a:cubicBezTo>
                    <a:cubicBezTo>
                      <a:pt x="502019" y="321593"/>
                      <a:pt x="514401" y="113948"/>
                      <a:pt x="380099" y="32985"/>
                    </a:cubicBezTo>
                    <a:cubicBezTo>
                      <a:pt x="246749" y="-47977"/>
                      <a:pt x="58154" y="32985"/>
                      <a:pt x="21006" y="136808"/>
                    </a:cubicBezTo>
                    <a:cubicBezTo>
                      <a:pt x="-16141" y="241583"/>
                      <a:pt x="-33286" y="596865"/>
                      <a:pt x="230556" y="57972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 185"/>
              <p:cNvSpPr/>
              <p:nvPr/>
            </p:nvSpPr>
            <p:spPr>
              <a:xfrm>
                <a:off x="3653789" y="948689"/>
                <a:ext cx="150495" cy="1824037"/>
              </a:xfrm>
              <a:custGeom>
                <a:avLst/>
                <a:gdLst>
                  <a:gd name="connsiteX0" fmla="*/ 150495 w 150495"/>
                  <a:gd name="connsiteY0" fmla="*/ 1824038 h 1824037"/>
                  <a:gd name="connsiteX1" fmla="*/ 0 w 150495"/>
                  <a:gd name="connsiteY1" fmla="*/ 1824038 h 1824037"/>
                  <a:gd name="connsiteX2" fmla="*/ 51435 w 150495"/>
                  <a:gd name="connsiteY2" fmla="*/ 0 h 1824037"/>
                  <a:gd name="connsiteX3" fmla="*/ 99060 w 150495"/>
                  <a:gd name="connsiteY3" fmla="*/ 0 h 1824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495" h="1824037">
                    <a:moveTo>
                      <a:pt x="150495" y="1824038"/>
                    </a:moveTo>
                    <a:lnTo>
                      <a:pt x="0" y="1824038"/>
                    </a:lnTo>
                    <a:lnTo>
                      <a:pt x="51435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 186"/>
              <p:cNvSpPr/>
              <p:nvPr/>
            </p:nvSpPr>
            <p:spPr>
              <a:xfrm>
                <a:off x="3443804" y="838200"/>
                <a:ext cx="284279" cy="289560"/>
              </a:xfrm>
              <a:custGeom>
                <a:avLst/>
                <a:gdLst>
                  <a:gd name="connsiteX0" fmla="*/ 284280 w 284279"/>
                  <a:gd name="connsiteY0" fmla="*/ 235267 h 289560"/>
                  <a:gd name="connsiteX1" fmla="*/ 64252 w 284279"/>
                  <a:gd name="connsiteY1" fmla="*/ 0 h 289560"/>
                  <a:gd name="connsiteX2" fmla="*/ 435 w 284279"/>
                  <a:gd name="connsiteY2" fmla="*/ 20002 h 289560"/>
                  <a:gd name="connsiteX3" fmla="*/ 281422 w 284279"/>
                  <a:gd name="connsiteY3" fmla="*/ 289560 h 289560"/>
                  <a:gd name="connsiteX4" fmla="*/ 284280 w 284279"/>
                  <a:gd name="connsiteY4" fmla="*/ 235267 h 289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60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 187"/>
              <p:cNvSpPr/>
              <p:nvPr/>
            </p:nvSpPr>
            <p:spPr>
              <a:xfrm>
                <a:off x="3443804" y="1560195"/>
                <a:ext cx="284279" cy="289559"/>
              </a:xfrm>
              <a:custGeom>
                <a:avLst/>
                <a:gdLst>
                  <a:gd name="connsiteX0" fmla="*/ 284280 w 284279"/>
                  <a:gd name="connsiteY0" fmla="*/ 235267 h 289559"/>
                  <a:gd name="connsiteX1" fmla="*/ 64252 w 284279"/>
                  <a:gd name="connsiteY1" fmla="*/ 0 h 289559"/>
                  <a:gd name="connsiteX2" fmla="*/ 435 w 284279"/>
                  <a:gd name="connsiteY2" fmla="*/ 20002 h 289559"/>
                  <a:gd name="connsiteX3" fmla="*/ 281422 w 284279"/>
                  <a:gd name="connsiteY3" fmla="*/ 289560 h 289559"/>
                  <a:gd name="connsiteX4" fmla="*/ 284280 w 284279"/>
                  <a:gd name="connsiteY4" fmla="*/ 235267 h 289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59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 188"/>
              <p:cNvSpPr/>
              <p:nvPr/>
            </p:nvSpPr>
            <p:spPr>
              <a:xfrm>
                <a:off x="3724274" y="1116329"/>
                <a:ext cx="317182" cy="255270"/>
              </a:xfrm>
              <a:custGeom>
                <a:avLst/>
                <a:gdLst>
                  <a:gd name="connsiteX0" fmla="*/ 5715 w 317182"/>
                  <a:gd name="connsiteY0" fmla="*/ 200978 h 255270"/>
                  <a:gd name="connsiteX1" fmla="*/ 257175 w 317182"/>
                  <a:gd name="connsiteY1" fmla="*/ 0 h 255270"/>
                  <a:gd name="connsiteX2" fmla="*/ 317183 w 317182"/>
                  <a:gd name="connsiteY2" fmla="*/ 29528 h 255270"/>
                  <a:gd name="connsiteX3" fmla="*/ 0 w 317182"/>
                  <a:gd name="connsiteY3" fmla="*/ 255270 h 255270"/>
                  <a:gd name="connsiteX4" fmla="*/ 5715 w 317182"/>
                  <a:gd name="connsiteY4" fmla="*/ 200978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7182" h="255270">
                    <a:moveTo>
                      <a:pt x="5715" y="200978"/>
                    </a:moveTo>
                    <a:cubicBezTo>
                      <a:pt x="5715" y="200978"/>
                      <a:pt x="255270" y="248603"/>
                      <a:pt x="257175" y="0"/>
                    </a:cubicBezTo>
                    <a:lnTo>
                      <a:pt x="317183" y="29528"/>
                    </a:lnTo>
                    <a:cubicBezTo>
                      <a:pt x="317183" y="29528"/>
                      <a:pt x="308610" y="252413"/>
                      <a:pt x="0" y="255270"/>
                    </a:cubicBezTo>
                    <a:lnTo>
                      <a:pt x="5715" y="2009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 189"/>
              <p:cNvSpPr/>
              <p:nvPr/>
            </p:nvSpPr>
            <p:spPr>
              <a:xfrm>
                <a:off x="3741419" y="1302067"/>
                <a:ext cx="199239" cy="294322"/>
              </a:xfrm>
              <a:custGeom>
                <a:avLst/>
                <a:gdLst>
                  <a:gd name="connsiteX0" fmla="*/ 0 w 199239"/>
                  <a:gd name="connsiteY0" fmla="*/ 239078 h 294322"/>
                  <a:gd name="connsiteX1" fmla="*/ 155257 w 199239"/>
                  <a:gd name="connsiteY1" fmla="*/ 953 h 294322"/>
                  <a:gd name="connsiteX2" fmla="*/ 199072 w 199239"/>
                  <a:gd name="connsiteY2" fmla="*/ 0 h 294322"/>
                  <a:gd name="connsiteX3" fmla="*/ 952 w 199239"/>
                  <a:gd name="connsiteY3" fmla="*/ 294323 h 294322"/>
                  <a:gd name="connsiteX4" fmla="*/ 0 w 199239"/>
                  <a:gd name="connsiteY4" fmla="*/ 239078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8"/>
                    </a:moveTo>
                    <a:cubicBezTo>
                      <a:pt x="0" y="239078"/>
                      <a:pt x="175260" y="245745"/>
                      <a:pt x="155257" y="953"/>
                    </a:cubicBezTo>
                    <a:lnTo>
                      <a:pt x="199072" y="0"/>
                    </a:lnTo>
                    <a:cubicBezTo>
                      <a:pt x="199072" y="0"/>
                      <a:pt x="212408" y="240983"/>
                      <a:pt x="952" y="294323"/>
                    </a:cubicBezTo>
                    <a:lnTo>
                      <a:pt x="0" y="2390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 190"/>
              <p:cNvSpPr/>
              <p:nvPr/>
            </p:nvSpPr>
            <p:spPr>
              <a:xfrm>
                <a:off x="3741419" y="1663065"/>
                <a:ext cx="199239" cy="294322"/>
              </a:xfrm>
              <a:custGeom>
                <a:avLst/>
                <a:gdLst>
                  <a:gd name="connsiteX0" fmla="*/ 0 w 199239"/>
                  <a:gd name="connsiteY0" fmla="*/ 239077 h 294322"/>
                  <a:gd name="connsiteX1" fmla="*/ 155257 w 199239"/>
                  <a:gd name="connsiteY1" fmla="*/ 952 h 294322"/>
                  <a:gd name="connsiteX2" fmla="*/ 199072 w 199239"/>
                  <a:gd name="connsiteY2" fmla="*/ 0 h 294322"/>
                  <a:gd name="connsiteX3" fmla="*/ 952 w 199239"/>
                  <a:gd name="connsiteY3" fmla="*/ 294322 h 294322"/>
                  <a:gd name="connsiteX4" fmla="*/ 0 w 199239"/>
                  <a:gd name="connsiteY4" fmla="*/ 239077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7"/>
                    </a:moveTo>
                    <a:cubicBezTo>
                      <a:pt x="0" y="239077"/>
                      <a:pt x="175260" y="245745"/>
                      <a:pt x="155257" y="952"/>
                    </a:cubicBezTo>
                    <a:lnTo>
                      <a:pt x="199072" y="0"/>
                    </a:lnTo>
                    <a:cubicBezTo>
                      <a:pt x="199072" y="0"/>
                      <a:pt x="212408" y="240982"/>
                      <a:pt x="952" y="294322"/>
                    </a:cubicBezTo>
                    <a:lnTo>
                      <a:pt x="0" y="23907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 191"/>
              <p:cNvSpPr/>
              <p:nvPr/>
            </p:nvSpPr>
            <p:spPr>
              <a:xfrm>
                <a:off x="3216962" y="326204"/>
                <a:ext cx="488947" cy="660283"/>
              </a:xfrm>
              <a:custGeom>
                <a:avLst/>
                <a:gdLst>
                  <a:gd name="connsiteX0" fmla="*/ 230135 w 488947"/>
                  <a:gd name="connsiteY0" fmla="*/ 659633 h 660283"/>
                  <a:gd name="connsiteX1" fmla="*/ 462545 w 488947"/>
                  <a:gd name="connsiteY1" fmla="*/ 491993 h 660283"/>
                  <a:gd name="connsiteX2" fmla="*/ 379677 w 488947"/>
                  <a:gd name="connsiteY2" fmla="*/ 37650 h 660283"/>
                  <a:gd name="connsiteX3" fmla="*/ 20585 w 488947"/>
                  <a:gd name="connsiteY3" fmla="*/ 155760 h 660283"/>
                  <a:gd name="connsiteX4" fmla="*/ 230135 w 488947"/>
                  <a:gd name="connsiteY4" fmla="*/ 659633 h 660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8947" h="660283">
                    <a:moveTo>
                      <a:pt x="230135" y="659633"/>
                    </a:moveTo>
                    <a:cubicBezTo>
                      <a:pt x="334910" y="652013"/>
                      <a:pt x="423492" y="617723"/>
                      <a:pt x="462545" y="491993"/>
                    </a:cubicBezTo>
                    <a:cubicBezTo>
                      <a:pt x="501597" y="366263"/>
                      <a:pt x="513980" y="130043"/>
                      <a:pt x="379677" y="37650"/>
                    </a:cubicBezTo>
                    <a:cubicBezTo>
                      <a:pt x="246327" y="-54742"/>
                      <a:pt x="57732" y="37650"/>
                      <a:pt x="20585" y="155760"/>
                    </a:cubicBezTo>
                    <a:cubicBezTo>
                      <a:pt x="-15610" y="273870"/>
                      <a:pt x="-33708" y="678683"/>
                      <a:pt x="230135" y="659633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 192"/>
              <p:cNvSpPr/>
              <p:nvPr/>
            </p:nvSpPr>
            <p:spPr>
              <a:xfrm>
                <a:off x="3871574" y="708915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 193"/>
              <p:cNvSpPr/>
              <p:nvPr/>
            </p:nvSpPr>
            <p:spPr>
              <a:xfrm>
                <a:off x="3242924" y="1171830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4118451" y="4450079"/>
              <a:ext cx="707707" cy="256222"/>
              <a:chOff x="4083366" y="2517457"/>
              <a:chExt cx="707707" cy="256222"/>
            </a:xfrm>
          </p:grpSpPr>
          <p:sp>
            <p:nvSpPr>
              <p:cNvPr id="52" name="任意多边形 196"/>
              <p:cNvSpPr/>
              <p:nvPr/>
            </p:nvSpPr>
            <p:spPr>
              <a:xfrm>
                <a:off x="4195762" y="2517457"/>
                <a:ext cx="510540" cy="255270"/>
              </a:xfrm>
              <a:custGeom>
                <a:avLst/>
                <a:gdLst>
                  <a:gd name="connsiteX0" fmla="*/ 255270 w 510540"/>
                  <a:gd name="connsiteY0" fmla="*/ 0 h 255270"/>
                  <a:gd name="connsiteX1" fmla="*/ 0 w 510540"/>
                  <a:gd name="connsiteY1" fmla="*/ 255270 h 255270"/>
                  <a:gd name="connsiteX2" fmla="*/ 510540 w 510540"/>
                  <a:gd name="connsiteY2" fmla="*/ 255270 h 255270"/>
                  <a:gd name="connsiteX3" fmla="*/ 255270 w 510540"/>
                  <a:gd name="connsiteY3" fmla="*/ 0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0540" h="255270">
                    <a:moveTo>
                      <a:pt x="255270" y="0"/>
                    </a:moveTo>
                    <a:cubicBezTo>
                      <a:pt x="114300" y="0"/>
                      <a:pt x="0" y="114300"/>
                      <a:pt x="0" y="255270"/>
                    </a:cubicBezTo>
                    <a:lnTo>
                      <a:pt x="510540" y="255270"/>
                    </a:lnTo>
                    <a:cubicBezTo>
                      <a:pt x="510540" y="114300"/>
                      <a:pt x="396240" y="0"/>
                      <a:pt x="255270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 197"/>
              <p:cNvSpPr/>
              <p:nvPr/>
            </p:nvSpPr>
            <p:spPr>
              <a:xfrm>
                <a:off x="4083366" y="2619375"/>
                <a:ext cx="307657" cy="154305"/>
              </a:xfrm>
              <a:custGeom>
                <a:avLst/>
                <a:gdLst>
                  <a:gd name="connsiteX0" fmla="*/ 154305 w 307657"/>
                  <a:gd name="connsiteY0" fmla="*/ 0 h 154305"/>
                  <a:gd name="connsiteX1" fmla="*/ 0 w 307657"/>
                  <a:gd name="connsiteY1" fmla="*/ 154305 h 154305"/>
                  <a:gd name="connsiteX2" fmla="*/ 307658 w 307657"/>
                  <a:gd name="connsiteY2" fmla="*/ 154305 h 154305"/>
                  <a:gd name="connsiteX3" fmla="*/ 154305 w 307657"/>
                  <a:gd name="connsiteY3" fmla="*/ 0 h 154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7657" h="154305">
                    <a:moveTo>
                      <a:pt x="154305" y="0"/>
                    </a:moveTo>
                    <a:cubicBezTo>
                      <a:pt x="69533" y="0"/>
                      <a:pt x="0" y="68580"/>
                      <a:pt x="0" y="154305"/>
                    </a:cubicBezTo>
                    <a:lnTo>
                      <a:pt x="307658" y="154305"/>
                    </a:lnTo>
                    <a:cubicBezTo>
                      <a:pt x="307658" y="68580"/>
                      <a:pt x="239078" y="0"/>
                      <a:pt x="15430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 198"/>
              <p:cNvSpPr/>
              <p:nvPr/>
            </p:nvSpPr>
            <p:spPr>
              <a:xfrm>
                <a:off x="4277677" y="2664142"/>
                <a:ext cx="217169" cy="108584"/>
              </a:xfrm>
              <a:custGeom>
                <a:avLst/>
                <a:gdLst>
                  <a:gd name="connsiteX0" fmla="*/ 108585 w 217169"/>
                  <a:gd name="connsiteY0" fmla="*/ 0 h 108584"/>
                  <a:gd name="connsiteX1" fmla="*/ 0 w 217169"/>
                  <a:gd name="connsiteY1" fmla="*/ 108585 h 108584"/>
                  <a:gd name="connsiteX2" fmla="*/ 217170 w 217169"/>
                  <a:gd name="connsiteY2" fmla="*/ 108585 h 108584"/>
                  <a:gd name="connsiteX3" fmla="*/ 108585 w 217169"/>
                  <a:gd name="connsiteY3" fmla="*/ 0 h 108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7169" h="108584">
                    <a:moveTo>
                      <a:pt x="108585" y="0"/>
                    </a:moveTo>
                    <a:cubicBezTo>
                      <a:pt x="48577" y="0"/>
                      <a:pt x="0" y="48577"/>
                      <a:pt x="0" y="108585"/>
                    </a:cubicBezTo>
                    <a:lnTo>
                      <a:pt x="217170" y="108585"/>
                    </a:lnTo>
                    <a:cubicBezTo>
                      <a:pt x="217170" y="48577"/>
                      <a:pt x="168592" y="0"/>
                      <a:pt x="10858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 199"/>
              <p:cNvSpPr/>
              <p:nvPr/>
            </p:nvSpPr>
            <p:spPr>
              <a:xfrm>
                <a:off x="4589144" y="2671762"/>
                <a:ext cx="201929" cy="100965"/>
              </a:xfrm>
              <a:custGeom>
                <a:avLst/>
                <a:gdLst>
                  <a:gd name="connsiteX0" fmla="*/ 100965 w 201929"/>
                  <a:gd name="connsiteY0" fmla="*/ 0 h 100965"/>
                  <a:gd name="connsiteX1" fmla="*/ 0 w 201929"/>
                  <a:gd name="connsiteY1" fmla="*/ 100965 h 100965"/>
                  <a:gd name="connsiteX2" fmla="*/ 201930 w 201929"/>
                  <a:gd name="connsiteY2" fmla="*/ 100965 h 100965"/>
                  <a:gd name="connsiteX3" fmla="*/ 100965 w 201929"/>
                  <a:gd name="connsiteY3" fmla="*/ 0 h 100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1929" h="100965">
                    <a:moveTo>
                      <a:pt x="100965" y="0"/>
                    </a:moveTo>
                    <a:cubicBezTo>
                      <a:pt x="45720" y="0"/>
                      <a:pt x="0" y="44768"/>
                      <a:pt x="0" y="100965"/>
                    </a:cubicBezTo>
                    <a:lnTo>
                      <a:pt x="201930" y="100965"/>
                    </a:lnTo>
                    <a:cubicBezTo>
                      <a:pt x="201930" y="45720"/>
                      <a:pt x="157163" y="0"/>
                      <a:pt x="100965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7536022" y="4531994"/>
              <a:ext cx="482917" cy="174307"/>
              <a:chOff x="7500937" y="2599372"/>
              <a:chExt cx="482917" cy="174307"/>
            </a:xfrm>
          </p:grpSpPr>
          <p:sp>
            <p:nvSpPr>
              <p:cNvPr id="48" name="任意多边形 201"/>
              <p:cNvSpPr/>
              <p:nvPr/>
            </p:nvSpPr>
            <p:spPr>
              <a:xfrm>
                <a:off x="7578089" y="2599372"/>
                <a:ext cx="347662" cy="174307"/>
              </a:xfrm>
              <a:custGeom>
                <a:avLst/>
                <a:gdLst>
                  <a:gd name="connsiteX0" fmla="*/ 174308 w 347662"/>
                  <a:gd name="connsiteY0" fmla="*/ 0 h 174307"/>
                  <a:gd name="connsiteX1" fmla="*/ 0 w 347662"/>
                  <a:gd name="connsiteY1" fmla="*/ 174308 h 174307"/>
                  <a:gd name="connsiteX2" fmla="*/ 347662 w 347662"/>
                  <a:gd name="connsiteY2" fmla="*/ 174308 h 174307"/>
                  <a:gd name="connsiteX3" fmla="*/ 174308 w 347662"/>
                  <a:gd name="connsiteY3" fmla="*/ 0 h 17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7662" h="174307">
                    <a:moveTo>
                      <a:pt x="174308" y="0"/>
                    </a:moveTo>
                    <a:cubicBezTo>
                      <a:pt x="78105" y="0"/>
                      <a:pt x="0" y="78105"/>
                      <a:pt x="0" y="174308"/>
                    </a:cubicBezTo>
                    <a:lnTo>
                      <a:pt x="347662" y="174308"/>
                    </a:lnTo>
                    <a:cubicBezTo>
                      <a:pt x="347662" y="77153"/>
                      <a:pt x="269558" y="0"/>
                      <a:pt x="174308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 202"/>
              <p:cNvSpPr/>
              <p:nvPr/>
            </p:nvSpPr>
            <p:spPr>
              <a:xfrm>
                <a:off x="7500937" y="2667952"/>
                <a:ext cx="209550" cy="104775"/>
              </a:xfrm>
              <a:custGeom>
                <a:avLst/>
                <a:gdLst>
                  <a:gd name="connsiteX0" fmla="*/ 104775 w 209550"/>
                  <a:gd name="connsiteY0" fmla="*/ 0 h 104775"/>
                  <a:gd name="connsiteX1" fmla="*/ 0 w 209550"/>
                  <a:gd name="connsiteY1" fmla="*/ 104775 h 104775"/>
                  <a:gd name="connsiteX2" fmla="*/ 209550 w 209550"/>
                  <a:gd name="connsiteY2" fmla="*/ 104775 h 104775"/>
                  <a:gd name="connsiteX3" fmla="*/ 104775 w 209550"/>
                  <a:gd name="connsiteY3" fmla="*/ 0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50" h="104775">
                    <a:moveTo>
                      <a:pt x="104775" y="0"/>
                    </a:moveTo>
                    <a:cubicBezTo>
                      <a:pt x="46672" y="0"/>
                      <a:pt x="0" y="46672"/>
                      <a:pt x="0" y="104775"/>
                    </a:cubicBezTo>
                    <a:lnTo>
                      <a:pt x="209550" y="104775"/>
                    </a:lnTo>
                    <a:cubicBezTo>
                      <a:pt x="209550" y="47625"/>
                      <a:pt x="162877" y="0"/>
                      <a:pt x="10477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 203"/>
              <p:cNvSpPr/>
              <p:nvPr/>
            </p:nvSpPr>
            <p:spPr>
              <a:xfrm>
                <a:off x="7633334" y="2699384"/>
                <a:ext cx="147637" cy="74295"/>
              </a:xfrm>
              <a:custGeom>
                <a:avLst/>
                <a:gdLst>
                  <a:gd name="connsiteX0" fmla="*/ 74295 w 147637"/>
                  <a:gd name="connsiteY0" fmla="*/ 0 h 74295"/>
                  <a:gd name="connsiteX1" fmla="*/ 0 w 147637"/>
                  <a:gd name="connsiteY1" fmla="*/ 74295 h 74295"/>
                  <a:gd name="connsiteX2" fmla="*/ 147638 w 147637"/>
                  <a:gd name="connsiteY2" fmla="*/ 74295 h 74295"/>
                  <a:gd name="connsiteX3" fmla="*/ 74295 w 147637"/>
                  <a:gd name="connsiteY3" fmla="*/ 0 h 74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7637" h="74295">
                    <a:moveTo>
                      <a:pt x="74295" y="0"/>
                    </a:moveTo>
                    <a:cubicBezTo>
                      <a:pt x="33338" y="0"/>
                      <a:pt x="0" y="33338"/>
                      <a:pt x="0" y="74295"/>
                    </a:cubicBezTo>
                    <a:lnTo>
                      <a:pt x="147638" y="74295"/>
                    </a:lnTo>
                    <a:cubicBezTo>
                      <a:pt x="147638" y="32385"/>
                      <a:pt x="115252" y="0"/>
                      <a:pt x="7429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 204"/>
              <p:cNvSpPr/>
              <p:nvPr/>
            </p:nvSpPr>
            <p:spPr>
              <a:xfrm>
                <a:off x="7846694" y="2704147"/>
                <a:ext cx="137160" cy="68580"/>
              </a:xfrm>
              <a:custGeom>
                <a:avLst/>
                <a:gdLst>
                  <a:gd name="connsiteX0" fmla="*/ 68580 w 137160"/>
                  <a:gd name="connsiteY0" fmla="*/ 0 h 68580"/>
                  <a:gd name="connsiteX1" fmla="*/ 0 w 137160"/>
                  <a:gd name="connsiteY1" fmla="*/ 68580 h 68580"/>
                  <a:gd name="connsiteX2" fmla="*/ 137160 w 137160"/>
                  <a:gd name="connsiteY2" fmla="*/ 68580 h 68580"/>
                  <a:gd name="connsiteX3" fmla="*/ 68580 w 137160"/>
                  <a:gd name="connsiteY3" fmla="*/ 0 h 68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160" h="68580">
                    <a:moveTo>
                      <a:pt x="68580" y="0"/>
                    </a:moveTo>
                    <a:cubicBezTo>
                      <a:pt x="30480" y="0"/>
                      <a:pt x="0" y="30480"/>
                      <a:pt x="0" y="68580"/>
                    </a:cubicBezTo>
                    <a:lnTo>
                      <a:pt x="137160" y="68580"/>
                    </a:lnTo>
                    <a:cubicBezTo>
                      <a:pt x="137160" y="30480"/>
                      <a:pt x="105728" y="0"/>
                      <a:pt x="6858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4761389" y="3611879"/>
              <a:ext cx="647700" cy="1093470"/>
              <a:chOff x="4726304" y="1679257"/>
              <a:chExt cx="647700" cy="1093470"/>
            </a:xfrm>
          </p:grpSpPr>
          <p:sp>
            <p:nvSpPr>
              <p:cNvPr id="44" name="任意多边形 207"/>
              <p:cNvSpPr/>
              <p:nvPr/>
            </p:nvSpPr>
            <p:spPr>
              <a:xfrm>
                <a:off x="5007291" y="2360295"/>
                <a:ext cx="85725" cy="412432"/>
              </a:xfrm>
              <a:custGeom>
                <a:avLst/>
                <a:gdLst>
                  <a:gd name="connsiteX0" fmla="*/ 0 w 85725"/>
                  <a:gd name="connsiteY0" fmla="*/ 412433 h 412432"/>
                  <a:gd name="connsiteX1" fmla="*/ 85725 w 85725"/>
                  <a:gd name="connsiteY1" fmla="*/ 412433 h 412432"/>
                  <a:gd name="connsiteX2" fmla="*/ 75248 w 85725"/>
                  <a:gd name="connsiteY2" fmla="*/ 0 h 412432"/>
                  <a:gd name="connsiteX3" fmla="*/ 15240 w 85725"/>
                  <a:gd name="connsiteY3" fmla="*/ 0 h 412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5" h="412432">
                    <a:moveTo>
                      <a:pt x="0" y="412433"/>
                    </a:moveTo>
                    <a:lnTo>
                      <a:pt x="85725" y="412433"/>
                    </a:lnTo>
                    <a:lnTo>
                      <a:pt x="75248" y="0"/>
                    </a:lnTo>
                    <a:lnTo>
                      <a:pt x="1524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 208"/>
              <p:cNvSpPr/>
              <p:nvPr/>
            </p:nvSpPr>
            <p:spPr>
              <a:xfrm>
                <a:off x="5028246" y="2368867"/>
                <a:ext cx="172031" cy="227647"/>
              </a:xfrm>
              <a:custGeom>
                <a:avLst/>
                <a:gdLst>
                  <a:gd name="connsiteX0" fmla="*/ 953 w 172031"/>
                  <a:gd name="connsiteY0" fmla="*/ 180023 h 227647"/>
                  <a:gd name="connsiteX1" fmla="*/ 125730 w 172031"/>
                  <a:gd name="connsiteY1" fmla="*/ 0 h 227647"/>
                  <a:gd name="connsiteX2" fmla="*/ 170497 w 172031"/>
                  <a:gd name="connsiteY2" fmla="*/ 7620 h 227647"/>
                  <a:gd name="connsiteX3" fmla="*/ 0 w 172031"/>
                  <a:gd name="connsiteY3" fmla="*/ 227648 h 227647"/>
                  <a:gd name="connsiteX4" fmla="*/ 953 w 172031"/>
                  <a:gd name="connsiteY4" fmla="*/ 180023 h 227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2031" h="227647">
                    <a:moveTo>
                      <a:pt x="953" y="180023"/>
                    </a:moveTo>
                    <a:cubicBezTo>
                      <a:pt x="953" y="180023"/>
                      <a:pt x="172403" y="161925"/>
                      <a:pt x="125730" y="0"/>
                    </a:cubicBezTo>
                    <a:lnTo>
                      <a:pt x="170497" y="7620"/>
                    </a:lnTo>
                    <a:cubicBezTo>
                      <a:pt x="170497" y="7620"/>
                      <a:pt x="200025" y="164783"/>
                      <a:pt x="0" y="227648"/>
                    </a:cubicBezTo>
                    <a:lnTo>
                      <a:pt x="953" y="180023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 209"/>
              <p:cNvSpPr/>
              <p:nvPr/>
            </p:nvSpPr>
            <p:spPr>
              <a:xfrm>
                <a:off x="4907258" y="2329815"/>
                <a:ext cx="142896" cy="184784"/>
              </a:xfrm>
              <a:custGeom>
                <a:avLst/>
                <a:gdLst>
                  <a:gd name="connsiteX0" fmla="*/ 36216 w 142896"/>
                  <a:gd name="connsiteY0" fmla="*/ 12382 h 184784"/>
                  <a:gd name="connsiteX1" fmla="*/ 142896 w 142896"/>
                  <a:gd name="connsiteY1" fmla="*/ 152400 h 184784"/>
                  <a:gd name="connsiteX2" fmla="*/ 125751 w 142896"/>
                  <a:gd name="connsiteY2" fmla="*/ 184785 h 184784"/>
                  <a:gd name="connsiteX3" fmla="*/ 21 w 142896"/>
                  <a:gd name="connsiteY3" fmla="*/ 0 h 184784"/>
                  <a:gd name="connsiteX4" fmla="*/ 36216 w 142896"/>
                  <a:gd name="connsiteY4" fmla="*/ 12382 h 184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896" h="184784">
                    <a:moveTo>
                      <a:pt x="36216" y="12382"/>
                    </a:moveTo>
                    <a:cubicBezTo>
                      <a:pt x="36216" y="12382"/>
                      <a:pt x="7641" y="148590"/>
                      <a:pt x="142896" y="152400"/>
                    </a:cubicBezTo>
                    <a:lnTo>
                      <a:pt x="125751" y="184785"/>
                    </a:lnTo>
                    <a:cubicBezTo>
                      <a:pt x="125751" y="184785"/>
                      <a:pt x="-1884" y="168592"/>
                      <a:pt x="21" y="0"/>
                    </a:cubicBezTo>
                    <a:lnTo>
                      <a:pt x="36216" y="12382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 210"/>
              <p:cNvSpPr/>
              <p:nvPr/>
            </p:nvSpPr>
            <p:spPr>
              <a:xfrm>
                <a:off x="4726304" y="1679257"/>
                <a:ext cx="647700" cy="770572"/>
              </a:xfrm>
              <a:custGeom>
                <a:avLst/>
                <a:gdLst>
                  <a:gd name="connsiteX0" fmla="*/ 647700 w 647700"/>
                  <a:gd name="connsiteY0" fmla="*/ 425767 h 770572"/>
                  <a:gd name="connsiteX1" fmla="*/ 323850 w 647700"/>
                  <a:gd name="connsiteY1" fmla="*/ 770572 h 770572"/>
                  <a:gd name="connsiteX2" fmla="*/ 0 w 647700"/>
                  <a:gd name="connsiteY2" fmla="*/ 425767 h 770572"/>
                  <a:gd name="connsiteX3" fmla="*/ 323850 w 647700"/>
                  <a:gd name="connsiteY3" fmla="*/ 0 h 770572"/>
                  <a:gd name="connsiteX4" fmla="*/ 647700 w 647700"/>
                  <a:gd name="connsiteY4" fmla="*/ 425767 h 770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7700" h="770572">
                    <a:moveTo>
                      <a:pt x="647700" y="425767"/>
                    </a:moveTo>
                    <a:cubicBezTo>
                      <a:pt x="647700" y="661035"/>
                      <a:pt x="502920" y="770572"/>
                      <a:pt x="323850" y="770572"/>
                    </a:cubicBezTo>
                    <a:cubicBezTo>
                      <a:pt x="144780" y="770572"/>
                      <a:pt x="0" y="661988"/>
                      <a:pt x="0" y="425767"/>
                    </a:cubicBezTo>
                    <a:cubicBezTo>
                      <a:pt x="0" y="190500"/>
                      <a:pt x="144780" y="0"/>
                      <a:pt x="323850" y="0"/>
                    </a:cubicBezTo>
                    <a:cubicBezTo>
                      <a:pt x="502920" y="0"/>
                      <a:pt x="647700" y="190500"/>
                      <a:pt x="647700" y="425767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" name="组合 11"/>
            <p:cNvGrpSpPr/>
            <p:nvPr/>
          </p:nvGrpSpPr>
          <p:grpSpPr>
            <a:xfrm>
              <a:off x="6647339" y="4319587"/>
              <a:ext cx="757237" cy="386715"/>
              <a:chOff x="6612254" y="2386965"/>
              <a:chExt cx="757237" cy="386715"/>
            </a:xfrm>
          </p:grpSpPr>
          <p:sp>
            <p:nvSpPr>
              <p:cNvPr id="40" name="任意多边形 213"/>
              <p:cNvSpPr/>
              <p:nvPr/>
            </p:nvSpPr>
            <p:spPr>
              <a:xfrm>
                <a:off x="6612254" y="2611754"/>
                <a:ext cx="181927" cy="160972"/>
              </a:xfrm>
              <a:custGeom>
                <a:avLst/>
                <a:gdLst>
                  <a:gd name="connsiteX0" fmla="*/ 181927 w 181927"/>
                  <a:gd name="connsiteY0" fmla="*/ 18098 h 160972"/>
                  <a:gd name="connsiteX1" fmla="*/ 178117 w 181927"/>
                  <a:gd name="connsiteY1" fmla="*/ 4763 h 160972"/>
                  <a:gd name="connsiteX2" fmla="*/ 147638 w 181927"/>
                  <a:gd name="connsiteY2" fmla="*/ 0 h 160972"/>
                  <a:gd name="connsiteX3" fmla="*/ 0 w 181927"/>
                  <a:gd name="connsiteY3" fmla="*/ 160973 h 160972"/>
                  <a:gd name="connsiteX4" fmla="*/ 87630 w 181927"/>
                  <a:gd name="connsiteY4" fmla="*/ 160973 h 160972"/>
                  <a:gd name="connsiteX5" fmla="*/ 181927 w 181927"/>
                  <a:gd name="connsiteY5" fmla="*/ 18098 h 160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1927" h="160972">
                    <a:moveTo>
                      <a:pt x="181927" y="18098"/>
                    </a:moveTo>
                    <a:cubicBezTo>
                      <a:pt x="180975" y="14288"/>
                      <a:pt x="179070" y="9525"/>
                      <a:pt x="178117" y="4763"/>
                    </a:cubicBezTo>
                    <a:cubicBezTo>
                      <a:pt x="168592" y="1905"/>
                      <a:pt x="158115" y="0"/>
                      <a:pt x="147638" y="0"/>
                    </a:cubicBezTo>
                    <a:cubicBezTo>
                      <a:pt x="79057" y="0"/>
                      <a:pt x="20002" y="67627"/>
                      <a:pt x="0" y="160973"/>
                    </a:cubicBezTo>
                    <a:lnTo>
                      <a:pt x="87630" y="160973"/>
                    </a:lnTo>
                    <a:cubicBezTo>
                      <a:pt x="112395" y="103823"/>
                      <a:pt x="144780" y="55245"/>
                      <a:pt x="181927" y="180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 214"/>
              <p:cNvSpPr/>
              <p:nvPr/>
            </p:nvSpPr>
            <p:spPr>
              <a:xfrm>
                <a:off x="6781799" y="2386965"/>
                <a:ext cx="313372" cy="340994"/>
              </a:xfrm>
              <a:custGeom>
                <a:avLst/>
                <a:gdLst>
                  <a:gd name="connsiteX0" fmla="*/ 170497 w 313372"/>
                  <a:gd name="connsiteY0" fmla="*/ 262890 h 340994"/>
                  <a:gd name="connsiteX1" fmla="*/ 313372 w 313372"/>
                  <a:gd name="connsiteY1" fmla="*/ 131445 h 340994"/>
                  <a:gd name="connsiteX2" fmla="*/ 166688 w 313372"/>
                  <a:gd name="connsiteY2" fmla="*/ 0 h 340994"/>
                  <a:gd name="connsiteX3" fmla="*/ 0 w 313372"/>
                  <a:gd name="connsiteY3" fmla="*/ 250507 h 340994"/>
                  <a:gd name="connsiteX4" fmla="*/ 9525 w 313372"/>
                  <a:gd name="connsiteY4" fmla="*/ 327660 h 340994"/>
                  <a:gd name="connsiteX5" fmla="*/ 13335 w 313372"/>
                  <a:gd name="connsiteY5" fmla="*/ 340995 h 340994"/>
                  <a:gd name="connsiteX6" fmla="*/ 170497 w 313372"/>
                  <a:gd name="connsiteY6" fmla="*/ 262890 h 340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3372" h="340994">
                    <a:moveTo>
                      <a:pt x="170497" y="262890"/>
                    </a:moveTo>
                    <a:cubicBezTo>
                      <a:pt x="204788" y="195263"/>
                      <a:pt x="255270" y="147638"/>
                      <a:pt x="313372" y="131445"/>
                    </a:cubicBezTo>
                    <a:cubicBezTo>
                      <a:pt x="284797" y="53340"/>
                      <a:pt x="230505" y="0"/>
                      <a:pt x="166688" y="0"/>
                    </a:cubicBezTo>
                    <a:cubicBezTo>
                      <a:pt x="74295" y="0"/>
                      <a:pt x="0" y="112395"/>
                      <a:pt x="0" y="250507"/>
                    </a:cubicBezTo>
                    <a:cubicBezTo>
                      <a:pt x="0" y="279082"/>
                      <a:pt x="2857" y="304800"/>
                      <a:pt x="9525" y="327660"/>
                    </a:cubicBezTo>
                    <a:cubicBezTo>
                      <a:pt x="10478" y="332422"/>
                      <a:pt x="12382" y="336232"/>
                      <a:pt x="13335" y="340995"/>
                    </a:cubicBezTo>
                    <a:cubicBezTo>
                      <a:pt x="58103" y="295275"/>
                      <a:pt x="112395" y="267652"/>
                      <a:pt x="170497" y="262890"/>
                    </a:cubicBezTo>
                    <a:close/>
                  </a:path>
                </a:pathLst>
              </a:custGeom>
              <a:solidFill>
                <a:srgbClr val="3BA24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 215"/>
              <p:cNvSpPr/>
              <p:nvPr/>
            </p:nvSpPr>
            <p:spPr>
              <a:xfrm>
                <a:off x="6952296" y="2413634"/>
                <a:ext cx="417195" cy="359092"/>
              </a:xfrm>
              <a:custGeom>
                <a:avLst/>
                <a:gdLst>
                  <a:gd name="connsiteX0" fmla="*/ 0 w 417195"/>
                  <a:gd name="connsiteY0" fmla="*/ 138113 h 359092"/>
                  <a:gd name="connsiteX1" fmla="*/ 18097 w 417195"/>
                  <a:gd name="connsiteY1" fmla="*/ 137160 h 359092"/>
                  <a:gd name="connsiteX2" fmla="*/ 287655 w 417195"/>
                  <a:gd name="connsiteY2" fmla="*/ 359093 h 359092"/>
                  <a:gd name="connsiteX3" fmla="*/ 417195 w 417195"/>
                  <a:gd name="connsiteY3" fmla="*/ 359093 h 359092"/>
                  <a:gd name="connsiteX4" fmla="*/ 417195 w 417195"/>
                  <a:gd name="connsiteY4" fmla="*/ 350520 h 359092"/>
                  <a:gd name="connsiteX5" fmla="*/ 184785 w 417195"/>
                  <a:gd name="connsiteY5" fmla="*/ 0 h 359092"/>
                  <a:gd name="connsiteX6" fmla="*/ 142875 w 417195"/>
                  <a:gd name="connsiteY6" fmla="*/ 5715 h 359092"/>
                  <a:gd name="connsiteX7" fmla="*/ 0 w 417195"/>
                  <a:gd name="connsiteY7" fmla="*/ 138113 h 359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195" h="359092">
                    <a:moveTo>
                      <a:pt x="0" y="138113"/>
                    </a:moveTo>
                    <a:cubicBezTo>
                      <a:pt x="5715" y="137160"/>
                      <a:pt x="11430" y="137160"/>
                      <a:pt x="18097" y="137160"/>
                    </a:cubicBezTo>
                    <a:cubicBezTo>
                      <a:pt x="131445" y="137160"/>
                      <a:pt x="230505" y="225743"/>
                      <a:pt x="287655" y="359093"/>
                    </a:cubicBezTo>
                    <a:lnTo>
                      <a:pt x="417195" y="359093"/>
                    </a:lnTo>
                    <a:cubicBezTo>
                      <a:pt x="417195" y="356235"/>
                      <a:pt x="417195" y="353378"/>
                      <a:pt x="417195" y="350520"/>
                    </a:cubicBezTo>
                    <a:cubicBezTo>
                      <a:pt x="417195" y="157163"/>
                      <a:pt x="313372" y="0"/>
                      <a:pt x="184785" y="0"/>
                    </a:cubicBezTo>
                    <a:cubicBezTo>
                      <a:pt x="170497" y="0"/>
                      <a:pt x="156210" y="1905"/>
                      <a:pt x="142875" y="5715"/>
                    </a:cubicBezTo>
                    <a:cubicBezTo>
                      <a:pt x="84772" y="22860"/>
                      <a:pt x="34290" y="70485"/>
                      <a:pt x="0" y="138113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 216"/>
              <p:cNvSpPr/>
              <p:nvPr/>
            </p:nvSpPr>
            <p:spPr>
              <a:xfrm>
                <a:off x="6699884" y="2550795"/>
                <a:ext cx="540067" cy="222885"/>
              </a:xfrm>
              <a:custGeom>
                <a:avLst/>
                <a:gdLst>
                  <a:gd name="connsiteX0" fmla="*/ 270510 w 540067"/>
                  <a:gd name="connsiteY0" fmla="*/ 0 h 222885"/>
                  <a:gd name="connsiteX1" fmla="*/ 252413 w 540067"/>
                  <a:gd name="connsiteY1" fmla="*/ 952 h 222885"/>
                  <a:gd name="connsiteX2" fmla="*/ 94297 w 540067"/>
                  <a:gd name="connsiteY2" fmla="*/ 79058 h 222885"/>
                  <a:gd name="connsiteX3" fmla="*/ 0 w 540067"/>
                  <a:gd name="connsiteY3" fmla="*/ 222885 h 222885"/>
                  <a:gd name="connsiteX4" fmla="*/ 540068 w 540067"/>
                  <a:gd name="connsiteY4" fmla="*/ 222885 h 222885"/>
                  <a:gd name="connsiteX5" fmla="*/ 270510 w 540067"/>
                  <a:gd name="connsiteY5" fmla="*/ 0 h 222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0067" h="222885">
                    <a:moveTo>
                      <a:pt x="270510" y="0"/>
                    </a:moveTo>
                    <a:cubicBezTo>
                      <a:pt x="264795" y="0"/>
                      <a:pt x="258128" y="0"/>
                      <a:pt x="252413" y="952"/>
                    </a:cubicBezTo>
                    <a:cubicBezTo>
                      <a:pt x="194310" y="5715"/>
                      <a:pt x="140970" y="34290"/>
                      <a:pt x="94297" y="79058"/>
                    </a:cubicBezTo>
                    <a:cubicBezTo>
                      <a:pt x="56197" y="116205"/>
                      <a:pt x="24765" y="164783"/>
                      <a:pt x="0" y="222885"/>
                    </a:cubicBezTo>
                    <a:lnTo>
                      <a:pt x="540068" y="222885"/>
                    </a:lnTo>
                    <a:cubicBezTo>
                      <a:pt x="482918" y="88583"/>
                      <a:pt x="383858" y="0"/>
                      <a:pt x="27051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8914289" y="4138612"/>
              <a:ext cx="578168" cy="567690"/>
              <a:chOff x="8879204" y="2205990"/>
              <a:chExt cx="578168" cy="567690"/>
            </a:xfrm>
          </p:grpSpPr>
          <p:grpSp>
            <p:nvGrpSpPr>
              <p:cNvPr id="28" name="组合 27"/>
              <p:cNvGrpSpPr/>
              <p:nvPr/>
            </p:nvGrpSpPr>
            <p:grpSpPr>
              <a:xfrm>
                <a:off x="8879204" y="2205990"/>
                <a:ext cx="342900" cy="567690"/>
                <a:chOff x="8879204" y="2205990"/>
                <a:chExt cx="342900" cy="567690"/>
              </a:xfrm>
            </p:grpSpPr>
            <p:sp>
              <p:nvSpPr>
                <p:cNvPr id="34" name="任意多边形 220"/>
                <p:cNvSpPr/>
                <p:nvPr/>
              </p:nvSpPr>
              <p:spPr>
                <a:xfrm>
                  <a:off x="9023984" y="2238375"/>
                  <a:ext cx="60007" cy="535305"/>
                </a:xfrm>
                <a:custGeom>
                  <a:avLst/>
                  <a:gdLst>
                    <a:gd name="connsiteX0" fmla="*/ 60007 w 60007"/>
                    <a:gd name="connsiteY0" fmla="*/ 535305 h 535305"/>
                    <a:gd name="connsiteX1" fmla="*/ 0 w 60007"/>
                    <a:gd name="connsiteY1" fmla="*/ 535305 h 535305"/>
                    <a:gd name="connsiteX2" fmla="*/ 20955 w 60007"/>
                    <a:gd name="connsiteY2" fmla="*/ 0 h 535305"/>
                    <a:gd name="connsiteX3" fmla="*/ 39052 w 60007"/>
                    <a:gd name="connsiteY3" fmla="*/ 0 h 535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007" h="535305">
                      <a:moveTo>
                        <a:pt x="60007" y="535305"/>
                      </a:moveTo>
                      <a:lnTo>
                        <a:pt x="0" y="535305"/>
                      </a:lnTo>
                      <a:lnTo>
                        <a:pt x="20955" y="0"/>
                      </a:lnTo>
                      <a:lnTo>
                        <a:pt x="39052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35" name="组合 34"/>
                <p:cNvGrpSpPr/>
                <p:nvPr/>
              </p:nvGrpSpPr>
              <p:grpSpPr>
                <a:xfrm>
                  <a:off x="8879204" y="2205990"/>
                  <a:ext cx="342900" cy="567690"/>
                  <a:chOff x="8879204" y="2205990"/>
                  <a:chExt cx="342900" cy="567690"/>
                </a:xfrm>
              </p:grpSpPr>
              <p:sp>
                <p:nvSpPr>
                  <p:cNvPr id="36" name="任意多边形 222"/>
                  <p:cNvSpPr/>
                  <p:nvPr/>
                </p:nvSpPr>
                <p:spPr>
                  <a:xfrm>
                    <a:off x="8879204" y="2546984"/>
                    <a:ext cx="342900" cy="226695"/>
                  </a:xfrm>
                  <a:custGeom>
                    <a:avLst/>
                    <a:gdLst>
                      <a:gd name="connsiteX0" fmla="*/ 170497 w 342900"/>
                      <a:gd name="connsiteY0" fmla="*/ 0 h 226695"/>
                      <a:gd name="connsiteX1" fmla="*/ 0 w 342900"/>
                      <a:gd name="connsiteY1" fmla="*/ 226695 h 226695"/>
                      <a:gd name="connsiteX2" fmla="*/ 171450 w 342900"/>
                      <a:gd name="connsiteY2" fmla="*/ 226695 h 226695"/>
                      <a:gd name="connsiteX3" fmla="*/ 342900 w 342900"/>
                      <a:gd name="connsiteY3" fmla="*/ 226695 h 2266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42900" h="226695">
                        <a:moveTo>
                          <a:pt x="170497" y="0"/>
                        </a:moveTo>
                        <a:lnTo>
                          <a:pt x="0" y="226695"/>
                        </a:lnTo>
                        <a:lnTo>
                          <a:pt x="171450" y="226695"/>
                        </a:lnTo>
                        <a:lnTo>
                          <a:pt x="342900" y="226695"/>
                        </a:lnTo>
                        <a:close/>
                      </a:path>
                    </a:pathLst>
                  </a:custGeom>
                  <a:solidFill>
                    <a:srgbClr val="006738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7" name="任意多边形 223"/>
                  <p:cNvSpPr/>
                  <p:nvPr/>
                </p:nvSpPr>
                <p:spPr>
                  <a:xfrm>
                    <a:off x="8893492" y="2415540"/>
                    <a:ext cx="313372" cy="191452"/>
                  </a:xfrm>
                  <a:custGeom>
                    <a:avLst/>
                    <a:gdLst>
                      <a:gd name="connsiteX0" fmla="*/ 155257 w 313372"/>
                      <a:gd name="connsiteY0" fmla="*/ 0 h 191452"/>
                      <a:gd name="connsiteX1" fmla="*/ 0 w 313372"/>
                      <a:gd name="connsiteY1" fmla="*/ 191452 h 191452"/>
                      <a:gd name="connsiteX2" fmla="*/ 156210 w 313372"/>
                      <a:gd name="connsiteY2" fmla="*/ 191452 h 191452"/>
                      <a:gd name="connsiteX3" fmla="*/ 313372 w 313372"/>
                      <a:gd name="connsiteY3" fmla="*/ 191452 h 1914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13372" h="191452">
                        <a:moveTo>
                          <a:pt x="155257" y="0"/>
                        </a:moveTo>
                        <a:lnTo>
                          <a:pt x="0" y="191452"/>
                        </a:lnTo>
                        <a:lnTo>
                          <a:pt x="156210" y="191452"/>
                        </a:lnTo>
                        <a:lnTo>
                          <a:pt x="313372" y="191452"/>
                        </a:lnTo>
                        <a:close/>
                      </a:path>
                    </a:pathLst>
                  </a:custGeom>
                  <a:solidFill>
                    <a:srgbClr val="029344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8" name="任意多边形 224"/>
                  <p:cNvSpPr/>
                  <p:nvPr/>
                </p:nvSpPr>
                <p:spPr>
                  <a:xfrm>
                    <a:off x="8904922" y="2303145"/>
                    <a:ext cx="288607" cy="163829"/>
                  </a:xfrm>
                  <a:custGeom>
                    <a:avLst/>
                    <a:gdLst>
                      <a:gd name="connsiteX0" fmla="*/ 143827 w 288607"/>
                      <a:gd name="connsiteY0" fmla="*/ 0 h 163829"/>
                      <a:gd name="connsiteX1" fmla="*/ 0 w 288607"/>
                      <a:gd name="connsiteY1" fmla="*/ 163830 h 163829"/>
                      <a:gd name="connsiteX2" fmla="*/ 144780 w 288607"/>
                      <a:gd name="connsiteY2" fmla="*/ 163830 h 163829"/>
                      <a:gd name="connsiteX3" fmla="*/ 288607 w 288607"/>
                      <a:gd name="connsiteY3" fmla="*/ 163830 h 1638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88607" h="163829">
                        <a:moveTo>
                          <a:pt x="143827" y="0"/>
                        </a:moveTo>
                        <a:lnTo>
                          <a:pt x="0" y="163830"/>
                        </a:lnTo>
                        <a:lnTo>
                          <a:pt x="144780" y="163830"/>
                        </a:lnTo>
                        <a:lnTo>
                          <a:pt x="288607" y="163830"/>
                        </a:lnTo>
                        <a:close/>
                      </a:path>
                    </a:pathLst>
                  </a:custGeom>
                  <a:solidFill>
                    <a:srgbClr val="6EB13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9" name="任意多边形 225"/>
                  <p:cNvSpPr/>
                  <p:nvPr/>
                </p:nvSpPr>
                <p:spPr>
                  <a:xfrm>
                    <a:off x="8915399" y="2205990"/>
                    <a:ext cx="266700" cy="140969"/>
                  </a:xfrm>
                  <a:custGeom>
                    <a:avLst/>
                    <a:gdLst>
                      <a:gd name="connsiteX0" fmla="*/ 132398 w 266700"/>
                      <a:gd name="connsiteY0" fmla="*/ 0 h 140969"/>
                      <a:gd name="connsiteX1" fmla="*/ 0 w 266700"/>
                      <a:gd name="connsiteY1" fmla="*/ 140970 h 140969"/>
                      <a:gd name="connsiteX2" fmla="*/ 133350 w 266700"/>
                      <a:gd name="connsiteY2" fmla="*/ 140970 h 140969"/>
                      <a:gd name="connsiteX3" fmla="*/ 266700 w 266700"/>
                      <a:gd name="connsiteY3" fmla="*/ 140970 h 1409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66700" h="140969">
                        <a:moveTo>
                          <a:pt x="132398" y="0"/>
                        </a:moveTo>
                        <a:lnTo>
                          <a:pt x="0" y="140970"/>
                        </a:lnTo>
                        <a:lnTo>
                          <a:pt x="133350" y="140970"/>
                        </a:lnTo>
                        <a:lnTo>
                          <a:pt x="266700" y="140970"/>
                        </a:lnTo>
                        <a:close/>
                      </a:path>
                    </a:pathLst>
                  </a:custGeom>
                  <a:solidFill>
                    <a:srgbClr val="92C33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29" name="组合 28"/>
              <p:cNvGrpSpPr/>
              <p:nvPr/>
            </p:nvGrpSpPr>
            <p:grpSpPr>
              <a:xfrm>
                <a:off x="9019222" y="2615565"/>
                <a:ext cx="438150" cy="158115"/>
                <a:chOff x="9019222" y="2615565"/>
                <a:chExt cx="438150" cy="158115"/>
              </a:xfrm>
            </p:grpSpPr>
            <p:sp>
              <p:nvSpPr>
                <p:cNvPr id="30" name="任意多边形 228"/>
                <p:cNvSpPr/>
                <p:nvPr/>
              </p:nvSpPr>
              <p:spPr>
                <a:xfrm>
                  <a:off x="9088754" y="2615565"/>
                  <a:ext cx="317182" cy="158115"/>
                </a:xfrm>
                <a:custGeom>
                  <a:avLst/>
                  <a:gdLst>
                    <a:gd name="connsiteX0" fmla="*/ 158115 w 317182"/>
                    <a:gd name="connsiteY0" fmla="*/ 0 h 158115"/>
                    <a:gd name="connsiteX1" fmla="*/ 0 w 317182"/>
                    <a:gd name="connsiteY1" fmla="*/ 158115 h 158115"/>
                    <a:gd name="connsiteX2" fmla="*/ 317182 w 317182"/>
                    <a:gd name="connsiteY2" fmla="*/ 158115 h 158115"/>
                    <a:gd name="connsiteX3" fmla="*/ 158115 w 317182"/>
                    <a:gd name="connsiteY3" fmla="*/ 0 h 1581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7182" h="158115">
                      <a:moveTo>
                        <a:pt x="158115" y="0"/>
                      </a:moveTo>
                      <a:cubicBezTo>
                        <a:pt x="70485" y="0"/>
                        <a:pt x="0" y="70485"/>
                        <a:pt x="0" y="158115"/>
                      </a:cubicBezTo>
                      <a:lnTo>
                        <a:pt x="317182" y="158115"/>
                      </a:lnTo>
                      <a:cubicBezTo>
                        <a:pt x="317182" y="70485"/>
                        <a:pt x="245745" y="0"/>
                        <a:pt x="158115" y="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1" name="任意多边形 229"/>
                <p:cNvSpPr/>
                <p:nvPr/>
              </p:nvSpPr>
              <p:spPr>
                <a:xfrm>
                  <a:off x="9019222" y="2677477"/>
                  <a:ext cx="190500" cy="95250"/>
                </a:xfrm>
                <a:custGeom>
                  <a:avLst/>
                  <a:gdLst>
                    <a:gd name="connsiteX0" fmla="*/ 95250 w 190500"/>
                    <a:gd name="connsiteY0" fmla="*/ 0 h 95250"/>
                    <a:gd name="connsiteX1" fmla="*/ 0 w 190500"/>
                    <a:gd name="connsiteY1" fmla="*/ 95250 h 95250"/>
                    <a:gd name="connsiteX2" fmla="*/ 190500 w 190500"/>
                    <a:gd name="connsiteY2" fmla="*/ 95250 h 95250"/>
                    <a:gd name="connsiteX3" fmla="*/ 95250 w 190500"/>
                    <a:gd name="connsiteY3" fmla="*/ 0 h 95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0500" h="95250">
                      <a:moveTo>
                        <a:pt x="95250" y="0"/>
                      </a:moveTo>
                      <a:cubicBezTo>
                        <a:pt x="42863" y="0"/>
                        <a:pt x="0" y="42863"/>
                        <a:pt x="0" y="95250"/>
                      </a:cubicBezTo>
                      <a:lnTo>
                        <a:pt x="190500" y="95250"/>
                      </a:lnTo>
                      <a:cubicBezTo>
                        <a:pt x="190500" y="42863"/>
                        <a:pt x="148590" y="0"/>
                        <a:pt x="95250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2" name="任意多边形 230"/>
                <p:cNvSpPr/>
                <p:nvPr/>
              </p:nvSpPr>
              <p:spPr>
                <a:xfrm>
                  <a:off x="9139237" y="2706052"/>
                  <a:ext cx="134324" cy="67627"/>
                </a:xfrm>
                <a:custGeom>
                  <a:avLst/>
                  <a:gdLst>
                    <a:gd name="connsiteX0" fmla="*/ 67627 w 134324"/>
                    <a:gd name="connsiteY0" fmla="*/ 0 h 67627"/>
                    <a:gd name="connsiteX1" fmla="*/ 0 w 134324"/>
                    <a:gd name="connsiteY1" fmla="*/ 67628 h 67627"/>
                    <a:gd name="connsiteX2" fmla="*/ 134302 w 134324"/>
                    <a:gd name="connsiteY2" fmla="*/ 67628 h 67627"/>
                    <a:gd name="connsiteX3" fmla="*/ 67627 w 134324"/>
                    <a:gd name="connsiteY3" fmla="*/ 0 h 67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4324" h="67627">
                      <a:moveTo>
                        <a:pt x="67627" y="0"/>
                      </a:moveTo>
                      <a:cubicBezTo>
                        <a:pt x="30480" y="0"/>
                        <a:pt x="0" y="30480"/>
                        <a:pt x="0" y="67628"/>
                      </a:cubicBezTo>
                      <a:lnTo>
                        <a:pt x="134302" y="67628"/>
                      </a:lnTo>
                      <a:cubicBezTo>
                        <a:pt x="135255" y="30480"/>
                        <a:pt x="104775" y="0"/>
                        <a:pt x="67627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3" name="任意多边形 231"/>
                <p:cNvSpPr/>
                <p:nvPr/>
              </p:nvSpPr>
              <p:spPr>
                <a:xfrm>
                  <a:off x="9332594" y="2710815"/>
                  <a:ext cx="124777" cy="62865"/>
                </a:xfrm>
                <a:custGeom>
                  <a:avLst/>
                  <a:gdLst>
                    <a:gd name="connsiteX0" fmla="*/ 62865 w 124777"/>
                    <a:gd name="connsiteY0" fmla="*/ 0 h 62865"/>
                    <a:gd name="connsiteX1" fmla="*/ 0 w 124777"/>
                    <a:gd name="connsiteY1" fmla="*/ 62865 h 62865"/>
                    <a:gd name="connsiteX2" fmla="*/ 124778 w 124777"/>
                    <a:gd name="connsiteY2" fmla="*/ 62865 h 62865"/>
                    <a:gd name="connsiteX3" fmla="*/ 62865 w 124777"/>
                    <a:gd name="connsiteY3" fmla="*/ 0 h 62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4777" h="62865">
                      <a:moveTo>
                        <a:pt x="62865" y="0"/>
                      </a:moveTo>
                      <a:cubicBezTo>
                        <a:pt x="28575" y="0"/>
                        <a:pt x="0" y="27622"/>
                        <a:pt x="0" y="62865"/>
                      </a:cubicBezTo>
                      <a:lnTo>
                        <a:pt x="124778" y="62865"/>
                      </a:lnTo>
                      <a:cubicBezTo>
                        <a:pt x="124778" y="27622"/>
                        <a:pt x="97155" y="0"/>
                        <a:pt x="62865" y="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4" name="组合 13"/>
            <p:cNvGrpSpPr/>
            <p:nvPr/>
          </p:nvGrpSpPr>
          <p:grpSpPr>
            <a:xfrm>
              <a:off x="2772569" y="4065269"/>
              <a:ext cx="704850" cy="641032"/>
              <a:chOff x="2737484" y="2132647"/>
              <a:chExt cx="704850" cy="641032"/>
            </a:xfrm>
          </p:grpSpPr>
          <p:sp>
            <p:nvSpPr>
              <p:cNvPr id="15" name="任意多边形 233"/>
              <p:cNvSpPr/>
              <p:nvPr/>
            </p:nvSpPr>
            <p:spPr>
              <a:xfrm>
                <a:off x="2987992" y="2646045"/>
                <a:ext cx="340058" cy="127635"/>
              </a:xfrm>
              <a:custGeom>
                <a:avLst/>
                <a:gdLst>
                  <a:gd name="connsiteX0" fmla="*/ 250508 w 340058"/>
                  <a:gd name="connsiteY0" fmla="*/ 37148 h 127635"/>
                  <a:gd name="connsiteX1" fmla="*/ 221933 w 340058"/>
                  <a:gd name="connsiteY1" fmla="*/ 41910 h 127635"/>
                  <a:gd name="connsiteX2" fmla="*/ 127635 w 340058"/>
                  <a:gd name="connsiteY2" fmla="*/ 0 h 127635"/>
                  <a:gd name="connsiteX3" fmla="*/ 0 w 340058"/>
                  <a:gd name="connsiteY3" fmla="*/ 127635 h 127635"/>
                  <a:gd name="connsiteX4" fmla="*/ 160020 w 340058"/>
                  <a:gd name="connsiteY4" fmla="*/ 127635 h 127635"/>
                  <a:gd name="connsiteX5" fmla="*/ 254318 w 340058"/>
                  <a:gd name="connsiteY5" fmla="*/ 127635 h 127635"/>
                  <a:gd name="connsiteX6" fmla="*/ 340043 w 340058"/>
                  <a:gd name="connsiteY6" fmla="*/ 127635 h 127635"/>
                  <a:gd name="connsiteX7" fmla="*/ 250508 w 340058"/>
                  <a:gd name="connsiteY7" fmla="*/ 37148 h 127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0058" h="127635">
                    <a:moveTo>
                      <a:pt x="250508" y="37148"/>
                    </a:moveTo>
                    <a:cubicBezTo>
                      <a:pt x="240030" y="37148"/>
                      <a:pt x="230505" y="39052"/>
                      <a:pt x="221933" y="41910"/>
                    </a:cubicBezTo>
                    <a:cubicBezTo>
                      <a:pt x="198120" y="16192"/>
                      <a:pt x="164783" y="0"/>
                      <a:pt x="127635" y="0"/>
                    </a:cubicBezTo>
                    <a:cubicBezTo>
                      <a:pt x="57150" y="0"/>
                      <a:pt x="0" y="57150"/>
                      <a:pt x="0" y="127635"/>
                    </a:cubicBezTo>
                    <a:lnTo>
                      <a:pt x="160020" y="127635"/>
                    </a:lnTo>
                    <a:lnTo>
                      <a:pt x="254318" y="127635"/>
                    </a:lnTo>
                    <a:lnTo>
                      <a:pt x="340043" y="127635"/>
                    </a:lnTo>
                    <a:cubicBezTo>
                      <a:pt x="340995" y="77152"/>
                      <a:pt x="300038" y="37148"/>
                      <a:pt x="250508" y="37148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6" name="组合 15"/>
              <p:cNvGrpSpPr/>
              <p:nvPr/>
            </p:nvGrpSpPr>
            <p:grpSpPr>
              <a:xfrm>
                <a:off x="2737484" y="2132647"/>
                <a:ext cx="704850" cy="640080"/>
                <a:chOff x="2737484" y="2132647"/>
                <a:chExt cx="704850" cy="640080"/>
              </a:xfrm>
            </p:grpSpPr>
            <p:sp>
              <p:nvSpPr>
                <p:cNvPr id="18" name="任意多边形 235"/>
                <p:cNvSpPr/>
                <p:nvPr/>
              </p:nvSpPr>
              <p:spPr>
                <a:xfrm>
                  <a:off x="3063239" y="2425065"/>
                  <a:ext cx="49530" cy="347662"/>
                </a:xfrm>
                <a:custGeom>
                  <a:avLst/>
                  <a:gdLst>
                    <a:gd name="connsiteX0" fmla="*/ 0 w 49530"/>
                    <a:gd name="connsiteY0" fmla="*/ 347663 h 347662"/>
                    <a:gd name="connsiteX1" fmla="*/ 49530 w 49530"/>
                    <a:gd name="connsiteY1" fmla="*/ 347663 h 347662"/>
                    <a:gd name="connsiteX2" fmla="*/ 43815 w 49530"/>
                    <a:gd name="connsiteY2" fmla="*/ 0 h 347662"/>
                    <a:gd name="connsiteX3" fmla="*/ 8573 w 49530"/>
                    <a:gd name="connsiteY3" fmla="*/ 0 h 347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9530" h="347662">
                      <a:moveTo>
                        <a:pt x="0" y="347663"/>
                      </a:moveTo>
                      <a:lnTo>
                        <a:pt x="49530" y="347663"/>
                      </a:lnTo>
                      <a:lnTo>
                        <a:pt x="43815" y="0"/>
                      </a:lnTo>
                      <a:lnTo>
                        <a:pt x="8573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" name="任意多边形 236"/>
                <p:cNvSpPr/>
                <p:nvPr/>
              </p:nvSpPr>
              <p:spPr>
                <a:xfrm>
                  <a:off x="3097529" y="2373629"/>
                  <a:ext cx="150866" cy="200025"/>
                </a:xfrm>
                <a:custGeom>
                  <a:avLst/>
                  <a:gdLst>
                    <a:gd name="connsiteX0" fmla="*/ 952 w 150866"/>
                    <a:gd name="connsiteY0" fmla="*/ 158115 h 200025"/>
                    <a:gd name="connsiteX1" fmla="*/ 110490 w 150866"/>
                    <a:gd name="connsiteY1" fmla="*/ 0 h 200025"/>
                    <a:gd name="connsiteX2" fmla="*/ 149543 w 150866"/>
                    <a:gd name="connsiteY2" fmla="*/ 6667 h 200025"/>
                    <a:gd name="connsiteX3" fmla="*/ 0 w 150866"/>
                    <a:gd name="connsiteY3" fmla="*/ 200025 h 200025"/>
                    <a:gd name="connsiteX4" fmla="*/ 952 w 150866"/>
                    <a:gd name="connsiteY4" fmla="*/ 158115 h 200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66" h="200025">
                      <a:moveTo>
                        <a:pt x="952" y="158115"/>
                      </a:moveTo>
                      <a:cubicBezTo>
                        <a:pt x="952" y="158115"/>
                        <a:pt x="152400" y="141923"/>
                        <a:pt x="110490" y="0"/>
                      </a:cubicBezTo>
                      <a:lnTo>
                        <a:pt x="149543" y="6667"/>
                      </a:lnTo>
                      <a:cubicBezTo>
                        <a:pt x="149543" y="6667"/>
                        <a:pt x="175260" y="144780"/>
                        <a:pt x="0" y="200025"/>
                      </a:cubicBezTo>
                      <a:lnTo>
                        <a:pt x="952" y="158115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" name="任意多边形 237"/>
                <p:cNvSpPr/>
                <p:nvPr/>
              </p:nvSpPr>
              <p:spPr>
                <a:xfrm>
                  <a:off x="2968935" y="2326957"/>
                  <a:ext cx="120973" cy="156209"/>
                </a:xfrm>
                <a:custGeom>
                  <a:avLst/>
                  <a:gdLst>
                    <a:gd name="connsiteX0" fmla="*/ 30486 w 120973"/>
                    <a:gd name="connsiteY0" fmla="*/ 10477 h 156209"/>
                    <a:gd name="connsiteX1" fmla="*/ 120974 w 120973"/>
                    <a:gd name="connsiteY1" fmla="*/ 128588 h 156209"/>
                    <a:gd name="connsiteX2" fmla="*/ 106686 w 120973"/>
                    <a:gd name="connsiteY2" fmla="*/ 156210 h 156209"/>
                    <a:gd name="connsiteX3" fmla="*/ 6 w 120973"/>
                    <a:gd name="connsiteY3" fmla="*/ 0 h 156209"/>
                    <a:gd name="connsiteX4" fmla="*/ 30486 w 120973"/>
                    <a:gd name="connsiteY4" fmla="*/ 10477 h 156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0973" h="156209">
                      <a:moveTo>
                        <a:pt x="30486" y="10477"/>
                      </a:moveTo>
                      <a:cubicBezTo>
                        <a:pt x="30486" y="10477"/>
                        <a:pt x="5721" y="125730"/>
                        <a:pt x="120974" y="128588"/>
                      </a:cubicBezTo>
                      <a:lnTo>
                        <a:pt x="106686" y="156210"/>
                      </a:lnTo>
                      <a:cubicBezTo>
                        <a:pt x="106686" y="156210"/>
                        <a:pt x="-946" y="141922"/>
                        <a:pt x="6" y="0"/>
                      </a:cubicBezTo>
                      <a:lnTo>
                        <a:pt x="30486" y="10477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" name="任意多边形 238"/>
                <p:cNvSpPr/>
                <p:nvPr/>
              </p:nvSpPr>
              <p:spPr>
                <a:xfrm>
                  <a:off x="2832734" y="2346959"/>
                  <a:ext cx="167640" cy="97818"/>
                </a:xfrm>
                <a:custGeom>
                  <a:avLst/>
                  <a:gdLst>
                    <a:gd name="connsiteX0" fmla="*/ 32385 w 167640"/>
                    <a:gd name="connsiteY0" fmla="*/ 0 h 97818"/>
                    <a:gd name="connsiteX1" fmla="*/ 167640 w 167640"/>
                    <a:gd name="connsiteY1" fmla="*/ 61913 h 97818"/>
                    <a:gd name="connsiteX2" fmla="*/ 167640 w 167640"/>
                    <a:gd name="connsiteY2" fmla="*/ 92393 h 97818"/>
                    <a:gd name="connsiteX3" fmla="*/ 0 w 167640"/>
                    <a:gd name="connsiteY3" fmla="*/ 4763 h 97818"/>
                    <a:gd name="connsiteX4" fmla="*/ 32385 w 167640"/>
                    <a:gd name="connsiteY4" fmla="*/ 0 h 97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97818">
                      <a:moveTo>
                        <a:pt x="32385" y="0"/>
                      </a:moveTo>
                      <a:cubicBezTo>
                        <a:pt x="32385" y="0"/>
                        <a:pt x="64770" y="112395"/>
                        <a:pt x="167640" y="61913"/>
                      </a:cubicBezTo>
                      <a:lnTo>
                        <a:pt x="167640" y="92393"/>
                      </a:lnTo>
                      <a:cubicBezTo>
                        <a:pt x="167640" y="92393"/>
                        <a:pt x="65723" y="130493"/>
                        <a:pt x="0" y="4763"/>
                      </a:cubicBezTo>
                      <a:lnTo>
                        <a:pt x="32385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" name="任意多边形 239"/>
                <p:cNvSpPr/>
                <p:nvPr/>
              </p:nvSpPr>
              <p:spPr>
                <a:xfrm>
                  <a:off x="3191826" y="2437447"/>
                  <a:ext cx="179070" cy="91847"/>
                </a:xfrm>
                <a:custGeom>
                  <a:avLst/>
                  <a:gdLst>
                    <a:gd name="connsiteX0" fmla="*/ 18098 w 179070"/>
                    <a:gd name="connsiteY0" fmla="*/ 56198 h 91847"/>
                    <a:gd name="connsiteX1" fmla="*/ 156210 w 179070"/>
                    <a:gd name="connsiteY1" fmla="*/ 0 h 91847"/>
                    <a:gd name="connsiteX2" fmla="*/ 179070 w 179070"/>
                    <a:gd name="connsiteY2" fmla="*/ 20955 h 91847"/>
                    <a:gd name="connsiteX3" fmla="*/ 0 w 179070"/>
                    <a:gd name="connsiteY3" fmla="*/ 82868 h 91847"/>
                    <a:gd name="connsiteX4" fmla="*/ 18098 w 179070"/>
                    <a:gd name="connsiteY4" fmla="*/ 56198 h 91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9070" h="91847">
                      <a:moveTo>
                        <a:pt x="18098" y="56198"/>
                      </a:moveTo>
                      <a:cubicBezTo>
                        <a:pt x="18098" y="56198"/>
                        <a:pt x="122873" y="109538"/>
                        <a:pt x="156210" y="0"/>
                      </a:cubicBezTo>
                      <a:lnTo>
                        <a:pt x="179070" y="20955"/>
                      </a:lnTo>
                      <a:cubicBezTo>
                        <a:pt x="179070" y="20955"/>
                        <a:pt x="137160" y="121920"/>
                        <a:pt x="0" y="82868"/>
                      </a:cubicBezTo>
                      <a:lnTo>
                        <a:pt x="18098" y="56198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" name="任意多边形 240"/>
                <p:cNvSpPr/>
                <p:nvPr/>
              </p:nvSpPr>
              <p:spPr>
                <a:xfrm>
                  <a:off x="2895599" y="2154554"/>
                  <a:ext cx="180975" cy="215265"/>
                </a:xfrm>
                <a:custGeom>
                  <a:avLst/>
                  <a:gdLst>
                    <a:gd name="connsiteX0" fmla="*/ 180975 w 180975"/>
                    <a:gd name="connsiteY0" fmla="*/ 119063 h 215265"/>
                    <a:gd name="connsiteX1" fmla="*/ 90488 w 180975"/>
                    <a:gd name="connsiteY1" fmla="*/ 215265 h 215265"/>
                    <a:gd name="connsiteX2" fmla="*/ 0 w 180975"/>
                    <a:gd name="connsiteY2" fmla="*/ 119063 h 215265"/>
                    <a:gd name="connsiteX3" fmla="*/ 90488 w 180975"/>
                    <a:gd name="connsiteY3" fmla="*/ 0 h 215265"/>
                    <a:gd name="connsiteX4" fmla="*/ 180975 w 180975"/>
                    <a:gd name="connsiteY4" fmla="*/ 119063 h 215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975" h="215265">
                      <a:moveTo>
                        <a:pt x="180975" y="119063"/>
                      </a:moveTo>
                      <a:cubicBezTo>
                        <a:pt x="180975" y="184785"/>
                        <a:pt x="140970" y="215265"/>
                        <a:pt x="90488" y="215265"/>
                      </a:cubicBezTo>
                      <a:cubicBezTo>
                        <a:pt x="40957" y="215265"/>
                        <a:pt x="0" y="184785"/>
                        <a:pt x="0" y="119063"/>
                      </a:cubicBezTo>
                      <a:cubicBezTo>
                        <a:pt x="0" y="53340"/>
                        <a:pt x="40005" y="0"/>
                        <a:pt x="90488" y="0"/>
                      </a:cubicBezTo>
                      <a:cubicBezTo>
                        <a:pt x="140018" y="0"/>
                        <a:pt x="180975" y="53340"/>
                        <a:pt x="180975" y="11906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" name="任意多边形 241"/>
                <p:cNvSpPr/>
                <p:nvPr/>
              </p:nvSpPr>
              <p:spPr>
                <a:xfrm>
                  <a:off x="2737484" y="2132647"/>
                  <a:ext cx="217170" cy="259080"/>
                </a:xfrm>
                <a:custGeom>
                  <a:avLst/>
                  <a:gdLst>
                    <a:gd name="connsiteX0" fmla="*/ 217170 w 217170"/>
                    <a:gd name="connsiteY0" fmla="*/ 142875 h 259080"/>
                    <a:gd name="connsiteX1" fmla="*/ 108585 w 217170"/>
                    <a:gd name="connsiteY1" fmla="*/ 259080 h 259080"/>
                    <a:gd name="connsiteX2" fmla="*/ 0 w 217170"/>
                    <a:gd name="connsiteY2" fmla="*/ 142875 h 259080"/>
                    <a:gd name="connsiteX3" fmla="*/ 108585 w 217170"/>
                    <a:gd name="connsiteY3" fmla="*/ 0 h 259080"/>
                    <a:gd name="connsiteX4" fmla="*/ 217170 w 217170"/>
                    <a:gd name="connsiteY4" fmla="*/ 142875 h 259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70" h="259080">
                      <a:moveTo>
                        <a:pt x="217170" y="142875"/>
                      </a:moveTo>
                      <a:cubicBezTo>
                        <a:pt x="217170" y="221933"/>
                        <a:pt x="168593" y="259080"/>
                        <a:pt x="108585" y="259080"/>
                      </a:cubicBezTo>
                      <a:cubicBezTo>
                        <a:pt x="48578" y="259080"/>
                        <a:pt x="0" y="222885"/>
                        <a:pt x="0" y="142875"/>
                      </a:cubicBezTo>
                      <a:cubicBezTo>
                        <a:pt x="0" y="63818"/>
                        <a:pt x="48578" y="0"/>
                        <a:pt x="108585" y="0"/>
                      </a:cubicBezTo>
                      <a:cubicBezTo>
                        <a:pt x="168593" y="0"/>
                        <a:pt x="217170" y="63818"/>
                        <a:pt x="217170" y="142875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5" name="任意多边形 242"/>
                <p:cNvSpPr/>
                <p:nvPr/>
              </p:nvSpPr>
              <p:spPr>
                <a:xfrm>
                  <a:off x="3108959" y="2200275"/>
                  <a:ext cx="217169" cy="218122"/>
                </a:xfrm>
                <a:custGeom>
                  <a:avLst/>
                  <a:gdLst>
                    <a:gd name="connsiteX0" fmla="*/ 217170 w 217169"/>
                    <a:gd name="connsiteY0" fmla="*/ 120967 h 218122"/>
                    <a:gd name="connsiteX1" fmla="*/ 108585 w 217169"/>
                    <a:gd name="connsiteY1" fmla="*/ 218122 h 218122"/>
                    <a:gd name="connsiteX2" fmla="*/ 0 w 217169"/>
                    <a:gd name="connsiteY2" fmla="*/ 120967 h 218122"/>
                    <a:gd name="connsiteX3" fmla="*/ 108585 w 217169"/>
                    <a:gd name="connsiteY3" fmla="*/ 0 h 218122"/>
                    <a:gd name="connsiteX4" fmla="*/ 217170 w 217169"/>
                    <a:gd name="connsiteY4" fmla="*/ 120967 h 218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69" h="218122">
                      <a:moveTo>
                        <a:pt x="217170" y="120967"/>
                      </a:moveTo>
                      <a:cubicBezTo>
                        <a:pt x="217170" y="187642"/>
                        <a:pt x="168592" y="218122"/>
                        <a:pt x="108585" y="218122"/>
                      </a:cubicBezTo>
                      <a:cubicBezTo>
                        <a:pt x="48577" y="218122"/>
                        <a:pt x="0" y="187642"/>
                        <a:pt x="0" y="120967"/>
                      </a:cubicBezTo>
                      <a:cubicBezTo>
                        <a:pt x="0" y="54292"/>
                        <a:pt x="48577" y="0"/>
                        <a:pt x="108585" y="0"/>
                      </a:cubicBezTo>
                      <a:cubicBezTo>
                        <a:pt x="168592" y="0"/>
                        <a:pt x="217170" y="54292"/>
                        <a:pt x="217170" y="120967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6" name="任意多边形 243"/>
                <p:cNvSpPr/>
                <p:nvPr/>
              </p:nvSpPr>
              <p:spPr>
                <a:xfrm>
                  <a:off x="3016567" y="2297429"/>
                  <a:ext cx="142875" cy="144779"/>
                </a:xfrm>
                <a:custGeom>
                  <a:avLst/>
                  <a:gdLst>
                    <a:gd name="connsiteX0" fmla="*/ 142875 w 142875"/>
                    <a:gd name="connsiteY0" fmla="*/ 80010 h 144779"/>
                    <a:gd name="connsiteX1" fmla="*/ 71438 w 142875"/>
                    <a:gd name="connsiteY1" fmla="*/ 144780 h 144779"/>
                    <a:gd name="connsiteX2" fmla="*/ 0 w 142875"/>
                    <a:gd name="connsiteY2" fmla="*/ 80010 h 144779"/>
                    <a:gd name="connsiteX3" fmla="*/ 71438 w 142875"/>
                    <a:gd name="connsiteY3" fmla="*/ 0 h 144779"/>
                    <a:gd name="connsiteX4" fmla="*/ 142875 w 142875"/>
                    <a:gd name="connsiteY4" fmla="*/ 80010 h 144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875" h="144779">
                      <a:moveTo>
                        <a:pt x="142875" y="80010"/>
                      </a:moveTo>
                      <a:cubicBezTo>
                        <a:pt x="142875" y="123825"/>
                        <a:pt x="110490" y="144780"/>
                        <a:pt x="71438" y="144780"/>
                      </a:cubicBezTo>
                      <a:cubicBezTo>
                        <a:pt x="31432" y="144780"/>
                        <a:pt x="0" y="124778"/>
                        <a:pt x="0" y="80010"/>
                      </a:cubicBezTo>
                      <a:cubicBezTo>
                        <a:pt x="0" y="36195"/>
                        <a:pt x="32385" y="0"/>
                        <a:pt x="71438" y="0"/>
                      </a:cubicBezTo>
                      <a:cubicBezTo>
                        <a:pt x="110490" y="0"/>
                        <a:pt x="142875" y="36195"/>
                        <a:pt x="142875" y="8001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7" name="任意多边形 244"/>
                <p:cNvSpPr/>
                <p:nvPr/>
              </p:nvSpPr>
              <p:spPr>
                <a:xfrm>
                  <a:off x="3274694" y="2323147"/>
                  <a:ext cx="167640" cy="167640"/>
                </a:xfrm>
                <a:custGeom>
                  <a:avLst/>
                  <a:gdLst>
                    <a:gd name="connsiteX0" fmla="*/ 167640 w 167640"/>
                    <a:gd name="connsiteY0" fmla="*/ 92393 h 167640"/>
                    <a:gd name="connsiteX1" fmla="*/ 83820 w 167640"/>
                    <a:gd name="connsiteY1" fmla="*/ 167640 h 167640"/>
                    <a:gd name="connsiteX2" fmla="*/ 0 w 167640"/>
                    <a:gd name="connsiteY2" fmla="*/ 92393 h 167640"/>
                    <a:gd name="connsiteX3" fmla="*/ 83820 w 167640"/>
                    <a:gd name="connsiteY3" fmla="*/ 0 h 167640"/>
                    <a:gd name="connsiteX4" fmla="*/ 167640 w 167640"/>
                    <a:gd name="connsiteY4" fmla="*/ 92393 h 1676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167640">
                      <a:moveTo>
                        <a:pt x="167640" y="92393"/>
                      </a:moveTo>
                      <a:cubicBezTo>
                        <a:pt x="167640" y="143828"/>
                        <a:pt x="130493" y="167640"/>
                        <a:pt x="83820" y="167640"/>
                      </a:cubicBezTo>
                      <a:cubicBezTo>
                        <a:pt x="38100" y="167640"/>
                        <a:pt x="0" y="143828"/>
                        <a:pt x="0" y="92393"/>
                      </a:cubicBezTo>
                      <a:cubicBezTo>
                        <a:pt x="0" y="40958"/>
                        <a:pt x="37148" y="0"/>
                        <a:pt x="83820" y="0"/>
                      </a:cubicBezTo>
                      <a:cubicBezTo>
                        <a:pt x="129540" y="0"/>
                        <a:pt x="167640" y="40958"/>
                        <a:pt x="167640" y="9239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7" name="任意多边形 245"/>
              <p:cNvSpPr/>
              <p:nvPr/>
            </p:nvSpPr>
            <p:spPr>
              <a:xfrm>
                <a:off x="2830829" y="2681287"/>
                <a:ext cx="247650" cy="92392"/>
              </a:xfrm>
              <a:custGeom>
                <a:avLst/>
                <a:gdLst>
                  <a:gd name="connsiteX0" fmla="*/ 65723 w 247650"/>
                  <a:gd name="connsiteY0" fmla="*/ 26670 h 92392"/>
                  <a:gd name="connsiteX1" fmla="*/ 86677 w 247650"/>
                  <a:gd name="connsiteY1" fmla="*/ 30480 h 92392"/>
                  <a:gd name="connsiteX2" fmla="*/ 155258 w 247650"/>
                  <a:gd name="connsiteY2" fmla="*/ 0 h 92392"/>
                  <a:gd name="connsiteX3" fmla="*/ 247650 w 247650"/>
                  <a:gd name="connsiteY3" fmla="*/ 92393 h 92392"/>
                  <a:gd name="connsiteX4" fmla="*/ 130493 w 247650"/>
                  <a:gd name="connsiteY4" fmla="*/ 92393 h 92392"/>
                  <a:gd name="connsiteX5" fmla="*/ 61913 w 247650"/>
                  <a:gd name="connsiteY5" fmla="*/ 92393 h 92392"/>
                  <a:gd name="connsiteX6" fmla="*/ 0 w 247650"/>
                  <a:gd name="connsiteY6" fmla="*/ 92393 h 92392"/>
                  <a:gd name="connsiteX7" fmla="*/ 65723 w 247650"/>
                  <a:gd name="connsiteY7" fmla="*/ 26670 h 92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7650" h="92392">
                    <a:moveTo>
                      <a:pt x="65723" y="26670"/>
                    </a:moveTo>
                    <a:cubicBezTo>
                      <a:pt x="73343" y="26670"/>
                      <a:pt x="80010" y="27622"/>
                      <a:pt x="86677" y="30480"/>
                    </a:cubicBezTo>
                    <a:cubicBezTo>
                      <a:pt x="103823" y="11430"/>
                      <a:pt x="127635" y="0"/>
                      <a:pt x="155258" y="0"/>
                    </a:cubicBezTo>
                    <a:cubicBezTo>
                      <a:pt x="206693" y="0"/>
                      <a:pt x="247650" y="40957"/>
                      <a:pt x="247650" y="92393"/>
                    </a:cubicBezTo>
                    <a:lnTo>
                      <a:pt x="130493" y="92393"/>
                    </a:lnTo>
                    <a:lnTo>
                      <a:pt x="61913" y="92393"/>
                    </a:lnTo>
                    <a:lnTo>
                      <a:pt x="0" y="92393"/>
                    </a:lnTo>
                    <a:cubicBezTo>
                      <a:pt x="0" y="56197"/>
                      <a:pt x="29528" y="26670"/>
                      <a:pt x="65723" y="2667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113" name="组合 112"/>
          <p:cNvGrpSpPr/>
          <p:nvPr/>
        </p:nvGrpSpPr>
        <p:grpSpPr>
          <a:xfrm>
            <a:off x="669924" y="1566009"/>
            <a:ext cx="8157290" cy="2996983"/>
            <a:chOff x="669924" y="1566009"/>
            <a:chExt cx="8139633" cy="3022971"/>
          </a:xfrm>
        </p:grpSpPr>
        <p:sp>
          <p:nvSpPr>
            <p:cNvPr id="95" name="矩形: 圆角 94"/>
            <p:cNvSpPr/>
            <p:nvPr/>
          </p:nvSpPr>
          <p:spPr>
            <a:xfrm>
              <a:off x="4762934" y="1566009"/>
              <a:ext cx="1332271" cy="1091381"/>
            </a:xfrm>
            <a:prstGeom prst="roundRect">
              <a:avLst/>
            </a:prstGeom>
            <a:solidFill>
              <a:srgbClr val="ED7D31"/>
            </a:solidFill>
            <a:ln w="12700" cap="flat" cmpd="sng" algn="ctr">
              <a:solidFill>
                <a:srgbClr val="ED7D31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charset="-122"/>
                  <a:ea typeface="等线" panose="02010600030101010101" charset="-122"/>
                  <a:cs typeface="+mn-cs"/>
                </a:rPr>
                <a:t>High Resolution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charset="-122"/>
                  <a:ea typeface="等线" panose="02010600030101010101" charset="-122"/>
                  <a:cs typeface="+mn-cs"/>
                </a:rPr>
                <a:t>Image</a:t>
              </a: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96" name="矩形: 圆角 95"/>
            <p:cNvSpPr/>
            <p:nvPr/>
          </p:nvSpPr>
          <p:spPr>
            <a:xfrm>
              <a:off x="6803776" y="2657390"/>
              <a:ext cx="2005781" cy="1091381"/>
            </a:xfrm>
            <a:prstGeom prst="roundRect">
              <a:avLst/>
            </a:prstGeom>
            <a:solidFill>
              <a:srgbClr val="5B9BD5"/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charset="-122"/>
                  <a:ea typeface="等线" panose="02010600030101010101" charset="-122"/>
                  <a:cs typeface="+mn-cs"/>
                </a:rPr>
                <a:t>Discriminator</a:t>
              </a:r>
              <a:endParaRPr kumimoji="0" lang="zh-CN" alt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cxnSp>
          <p:nvCxnSpPr>
            <p:cNvPr id="98" name="直接箭头连接符 97"/>
            <p:cNvCxnSpPr>
              <a:stCxn id="95" idx="3"/>
              <a:endCxn id="96" idx="1"/>
            </p:cNvCxnSpPr>
            <p:nvPr/>
          </p:nvCxnSpPr>
          <p:spPr>
            <a:xfrm>
              <a:off x="6095205" y="2111700"/>
              <a:ext cx="708571" cy="1091381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106" name="直接箭头连接符 105"/>
            <p:cNvCxnSpPr>
              <a:stCxn id="109" idx="3"/>
            </p:cNvCxnSpPr>
            <p:nvPr/>
          </p:nvCxnSpPr>
          <p:spPr>
            <a:xfrm flipV="1">
              <a:off x="6097331" y="3203081"/>
              <a:ext cx="673510" cy="840208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107" name="矩形: 圆角 106"/>
            <p:cNvSpPr/>
            <p:nvPr/>
          </p:nvSpPr>
          <p:spPr>
            <a:xfrm>
              <a:off x="2370905" y="3497599"/>
              <a:ext cx="2005781" cy="1091381"/>
            </a:xfrm>
            <a:prstGeom prst="roundRect">
              <a:avLst/>
            </a:prstGeom>
            <a:solidFill>
              <a:srgbClr val="5B9BD5"/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charset="-122"/>
                  <a:ea typeface="等线" panose="02010600030101010101" charset="-122"/>
                  <a:cs typeface="+mn-cs"/>
                </a:rPr>
                <a:t>Generator</a:t>
              </a:r>
              <a:endParaRPr kumimoji="0" lang="zh-CN" alt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108" name="矩形: 圆角 107"/>
            <p:cNvSpPr/>
            <p:nvPr/>
          </p:nvSpPr>
          <p:spPr>
            <a:xfrm>
              <a:off x="669924" y="3497598"/>
              <a:ext cx="1332271" cy="1091381"/>
            </a:xfrm>
            <a:prstGeom prst="roundRect">
              <a:avLst/>
            </a:prstGeom>
            <a:solidFill>
              <a:srgbClr val="ED7D31"/>
            </a:solidFill>
            <a:ln w="12700" cap="flat" cmpd="sng" algn="ctr">
              <a:solidFill>
                <a:srgbClr val="ED7D31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charset="-122"/>
                  <a:ea typeface="等线" panose="02010600030101010101" charset="-122"/>
                  <a:cs typeface="+mn-cs"/>
                </a:rPr>
                <a:t>Low Resolution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charset="-122"/>
                  <a:ea typeface="等线" panose="02010600030101010101" charset="-122"/>
                  <a:cs typeface="+mn-cs"/>
                </a:rPr>
                <a:t>Image</a:t>
              </a: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109" name="矩形: 圆角 108"/>
            <p:cNvSpPr/>
            <p:nvPr/>
          </p:nvSpPr>
          <p:spPr>
            <a:xfrm>
              <a:off x="4765060" y="3497598"/>
              <a:ext cx="1332271" cy="1091381"/>
            </a:xfrm>
            <a:prstGeom prst="roundRect">
              <a:avLst/>
            </a:prstGeom>
            <a:solidFill>
              <a:srgbClr val="ED7D31"/>
            </a:solidFill>
            <a:ln w="12700" cap="flat" cmpd="sng" algn="ctr">
              <a:solidFill>
                <a:srgbClr val="ED7D31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charset="-122"/>
                  <a:ea typeface="等线" panose="02010600030101010101" charset="-122"/>
                  <a:cs typeface="+mn-cs"/>
                </a:rPr>
                <a:t>Fak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charset="-122"/>
                  <a:ea typeface="等线" panose="02010600030101010101" charset="-122"/>
                  <a:cs typeface="+mn-cs"/>
                </a:rPr>
                <a:t>Image</a:t>
              </a: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cxnSp>
          <p:nvCxnSpPr>
            <p:cNvPr id="110" name="直接箭头连接符 109"/>
            <p:cNvCxnSpPr>
              <a:stCxn id="108" idx="3"/>
              <a:endCxn id="107" idx="1"/>
            </p:cNvCxnSpPr>
            <p:nvPr/>
          </p:nvCxnSpPr>
          <p:spPr>
            <a:xfrm>
              <a:off x="2002195" y="4043289"/>
              <a:ext cx="368710" cy="1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111" name="直接箭头连接符 110"/>
            <p:cNvCxnSpPr>
              <a:stCxn id="107" idx="3"/>
              <a:endCxn id="109" idx="1"/>
            </p:cNvCxnSpPr>
            <p:nvPr/>
          </p:nvCxnSpPr>
          <p:spPr>
            <a:xfrm flipV="1">
              <a:off x="4376686" y="4043289"/>
              <a:ext cx="388374" cy="1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tailEnd type="triangle"/>
            </a:ln>
            <a:effectLst/>
          </p:spPr>
        </p:cxnSp>
      </p:grpSp>
    </p:spTree>
    <p:custDataLst>
      <p:tags r:id="rId1"/>
    </p:custData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RGAN(Super Resolution Generative Adversarial Network)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5</a:t>
            </a:fld>
            <a:endParaRPr lang="zh-CN" altLang="en-US"/>
          </a:p>
        </p:txBody>
      </p:sp>
      <p:grpSp>
        <p:nvGrpSpPr>
          <p:cNvPr id="5" name="组合 4"/>
          <p:cNvGrpSpPr/>
          <p:nvPr/>
        </p:nvGrpSpPr>
        <p:grpSpPr>
          <a:xfrm>
            <a:off x="8358909" y="5477164"/>
            <a:ext cx="3719729" cy="1298762"/>
            <a:chOff x="2772569" y="2151697"/>
            <a:chExt cx="6719888" cy="2554605"/>
          </a:xfrm>
        </p:grpSpPr>
        <p:grpSp>
          <p:nvGrpSpPr>
            <p:cNvPr id="6" name="组合 5"/>
            <p:cNvGrpSpPr/>
            <p:nvPr/>
          </p:nvGrpSpPr>
          <p:grpSpPr>
            <a:xfrm>
              <a:off x="7873207" y="2151697"/>
              <a:ext cx="1093469" cy="2553652"/>
              <a:chOff x="7838122" y="219075"/>
              <a:chExt cx="1093469" cy="2553652"/>
            </a:xfrm>
          </p:grpSpPr>
          <p:sp>
            <p:nvSpPr>
              <p:cNvPr id="79" name="任意多边形 157"/>
              <p:cNvSpPr/>
              <p:nvPr/>
            </p:nvSpPr>
            <p:spPr>
              <a:xfrm>
                <a:off x="8309609" y="280987"/>
                <a:ext cx="151447" cy="2491740"/>
              </a:xfrm>
              <a:custGeom>
                <a:avLst/>
                <a:gdLst>
                  <a:gd name="connsiteX0" fmla="*/ 151447 w 151447"/>
                  <a:gd name="connsiteY0" fmla="*/ 2491740 h 2491740"/>
                  <a:gd name="connsiteX1" fmla="*/ 0 w 151447"/>
                  <a:gd name="connsiteY1" fmla="*/ 2491740 h 2491740"/>
                  <a:gd name="connsiteX2" fmla="*/ 52388 w 151447"/>
                  <a:gd name="connsiteY2" fmla="*/ 0 h 2491740"/>
                  <a:gd name="connsiteX3" fmla="*/ 99060 w 151447"/>
                  <a:gd name="connsiteY3" fmla="*/ 0 h 249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1447" h="2491740">
                    <a:moveTo>
                      <a:pt x="151447" y="2491740"/>
                    </a:moveTo>
                    <a:lnTo>
                      <a:pt x="0" y="2491740"/>
                    </a:lnTo>
                    <a:lnTo>
                      <a:pt x="52388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80" name="组合 79"/>
              <p:cNvGrpSpPr/>
              <p:nvPr/>
            </p:nvGrpSpPr>
            <p:grpSpPr>
              <a:xfrm>
                <a:off x="7838122" y="219075"/>
                <a:ext cx="1093469" cy="1788795"/>
                <a:chOff x="7838122" y="219075"/>
                <a:chExt cx="1093469" cy="1788795"/>
              </a:xfrm>
            </p:grpSpPr>
            <p:sp>
              <p:nvSpPr>
                <p:cNvPr id="81" name="任意多边形 159"/>
                <p:cNvSpPr/>
                <p:nvPr/>
              </p:nvSpPr>
              <p:spPr>
                <a:xfrm>
                  <a:off x="7838122" y="1418272"/>
                  <a:ext cx="1093469" cy="589597"/>
                </a:xfrm>
                <a:custGeom>
                  <a:avLst/>
                  <a:gdLst>
                    <a:gd name="connsiteX0" fmla="*/ 542925 w 1093469"/>
                    <a:gd name="connsiteY0" fmla="*/ 0 h 589597"/>
                    <a:gd name="connsiteX1" fmla="*/ 0 w 1093469"/>
                    <a:gd name="connsiteY1" fmla="*/ 589598 h 589597"/>
                    <a:gd name="connsiteX2" fmla="*/ 546735 w 1093469"/>
                    <a:gd name="connsiteY2" fmla="*/ 589598 h 589597"/>
                    <a:gd name="connsiteX3" fmla="*/ 1093470 w 1093469"/>
                    <a:gd name="connsiteY3" fmla="*/ 589598 h 589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93469" h="589597">
                      <a:moveTo>
                        <a:pt x="542925" y="0"/>
                      </a:moveTo>
                      <a:lnTo>
                        <a:pt x="0" y="589598"/>
                      </a:lnTo>
                      <a:lnTo>
                        <a:pt x="546735" y="589598"/>
                      </a:lnTo>
                      <a:lnTo>
                        <a:pt x="1093470" y="589598"/>
                      </a:ln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2" name="任意多边形 160"/>
                <p:cNvSpPr/>
                <p:nvPr/>
              </p:nvSpPr>
              <p:spPr>
                <a:xfrm>
                  <a:off x="7892414" y="1091564"/>
                  <a:ext cx="979170" cy="480060"/>
                </a:xfrm>
                <a:custGeom>
                  <a:avLst/>
                  <a:gdLst>
                    <a:gd name="connsiteX0" fmla="*/ 486728 w 979170"/>
                    <a:gd name="connsiteY0" fmla="*/ 0 h 480060"/>
                    <a:gd name="connsiteX1" fmla="*/ 0 w 979170"/>
                    <a:gd name="connsiteY1" fmla="*/ 480060 h 480060"/>
                    <a:gd name="connsiteX2" fmla="*/ 489585 w 979170"/>
                    <a:gd name="connsiteY2" fmla="*/ 480060 h 480060"/>
                    <a:gd name="connsiteX3" fmla="*/ 979170 w 979170"/>
                    <a:gd name="connsiteY3" fmla="*/ 480060 h 4800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9170" h="480060">
                      <a:moveTo>
                        <a:pt x="486728" y="0"/>
                      </a:moveTo>
                      <a:lnTo>
                        <a:pt x="0" y="480060"/>
                      </a:lnTo>
                      <a:lnTo>
                        <a:pt x="489585" y="480060"/>
                      </a:lnTo>
                      <a:lnTo>
                        <a:pt x="979170" y="480060"/>
                      </a:ln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3" name="任意多边形 161"/>
                <p:cNvSpPr/>
                <p:nvPr/>
              </p:nvSpPr>
              <p:spPr>
                <a:xfrm>
                  <a:off x="7937181" y="819150"/>
                  <a:ext cx="886777" cy="398145"/>
                </a:xfrm>
                <a:custGeom>
                  <a:avLst/>
                  <a:gdLst>
                    <a:gd name="connsiteX0" fmla="*/ 441007 w 886777"/>
                    <a:gd name="connsiteY0" fmla="*/ 0 h 398145"/>
                    <a:gd name="connsiteX1" fmla="*/ 0 w 886777"/>
                    <a:gd name="connsiteY1" fmla="*/ 398145 h 398145"/>
                    <a:gd name="connsiteX2" fmla="*/ 442913 w 886777"/>
                    <a:gd name="connsiteY2" fmla="*/ 398145 h 398145"/>
                    <a:gd name="connsiteX3" fmla="*/ 886778 w 886777"/>
                    <a:gd name="connsiteY3" fmla="*/ 398145 h 3981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86777" h="398145">
                      <a:moveTo>
                        <a:pt x="441007" y="0"/>
                      </a:moveTo>
                      <a:lnTo>
                        <a:pt x="0" y="398145"/>
                      </a:lnTo>
                      <a:lnTo>
                        <a:pt x="442913" y="398145"/>
                      </a:lnTo>
                      <a:lnTo>
                        <a:pt x="886778" y="398145"/>
                      </a:ln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4" name="任意多边形 162"/>
                <p:cNvSpPr/>
                <p:nvPr/>
              </p:nvSpPr>
              <p:spPr>
                <a:xfrm>
                  <a:off x="7973376" y="587692"/>
                  <a:ext cx="809625" cy="336232"/>
                </a:xfrm>
                <a:custGeom>
                  <a:avLst/>
                  <a:gdLst>
                    <a:gd name="connsiteX0" fmla="*/ 402908 w 809625"/>
                    <a:gd name="connsiteY0" fmla="*/ 0 h 336232"/>
                    <a:gd name="connsiteX1" fmla="*/ 0 w 809625"/>
                    <a:gd name="connsiteY1" fmla="*/ 336233 h 336232"/>
                    <a:gd name="connsiteX2" fmla="*/ 404813 w 809625"/>
                    <a:gd name="connsiteY2" fmla="*/ 336233 h 336232"/>
                    <a:gd name="connsiteX3" fmla="*/ 809625 w 809625"/>
                    <a:gd name="connsiteY3" fmla="*/ 336233 h 336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9625" h="336232">
                      <a:moveTo>
                        <a:pt x="402908" y="0"/>
                      </a:moveTo>
                      <a:lnTo>
                        <a:pt x="0" y="336233"/>
                      </a:lnTo>
                      <a:lnTo>
                        <a:pt x="404813" y="336233"/>
                      </a:lnTo>
                      <a:lnTo>
                        <a:pt x="809625" y="336233"/>
                      </a:lnTo>
                      <a:close/>
                    </a:path>
                  </a:pathLst>
                </a:custGeom>
                <a:solidFill>
                  <a:srgbClr val="45BC5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5" name="任意多边形 163"/>
                <p:cNvSpPr/>
                <p:nvPr/>
              </p:nvSpPr>
              <p:spPr>
                <a:xfrm>
                  <a:off x="8003856" y="390525"/>
                  <a:ext cx="745807" cy="286702"/>
                </a:xfrm>
                <a:custGeom>
                  <a:avLst/>
                  <a:gdLst>
                    <a:gd name="connsiteX0" fmla="*/ 371475 w 745807"/>
                    <a:gd name="connsiteY0" fmla="*/ 0 h 286702"/>
                    <a:gd name="connsiteX1" fmla="*/ 0 w 745807"/>
                    <a:gd name="connsiteY1" fmla="*/ 286703 h 286702"/>
                    <a:gd name="connsiteX2" fmla="*/ 373380 w 745807"/>
                    <a:gd name="connsiteY2" fmla="*/ 286703 h 286702"/>
                    <a:gd name="connsiteX3" fmla="*/ 745807 w 745807"/>
                    <a:gd name="connsiteY3" fmla="*/ 286703 h 286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5807" h="286702">
                      <a:moveTo>
                        <a:pt x="371475" y="0"/>
                      </a:moveTo>
                      <a:lnTo>
                        <a:pt x="0" y="286703"/>
                      </a:lnTo>
                      <a:lnTo>
                        <a:pt x="373380" y="286703"/>
                      </a:lnTo>
                      <a:lnTo>
                        <a:pt x="745807" y="286703"/>
                      </a:ln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6" name="任意多边形 164"/>
                <p:cNvSpPr/>
                <p:nvPr/>
              </p:nvSpPr>
              <p:spPr>
                <a:xfrm>
                  <a:off x="8030526" y="219075"/>
                  <a:ext cx="690562" cy="248602"/>
                </a:xfrm>
                <a:custGeom>
                  <a:avLst/>
                  <a:gdLst>
                    <a:gd name="connsiteX0" fmla="*/ 343853 w 690562"/>
                    <a:gd name="connsiteY0" fmla="*/ 0 h 248602"/>
                    <a:gd name="connsiteX1" fmla="*/ 0 w 690562"/>
                    <a:gd name="connsiteY1" fmla="*/ 248603 h 248602"/>
                    <a:gd name="connsiteX2" fmla="*/ 344805 w 690562"/>
                    <a:gd name="connsiteY2" fmla="*/ 248603 h 248602"/>
                    <a:gd name="connsiteX3" fmla="*/ 690563 w 690562"/>
                    <a:gd name="connsiteY3" fmla="*/ 248603 h 2486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0562" h="248602">
                      <a:moveTo>
                        <a:pt x="343853" y="0"/>
                      </a:moveTo>
                      <a:lnTo>
                        <a:pt x="0" y="248603"/>
                      </a:lnTo>
                      <a:lnTo>
                        <a:pt x="344805" y="248603"/>
                      </a:lnTo>
                      <a:lnTo>
                        <a:pt x="690563" y="248603"/>
                      </a:ln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7" name="组合 6"/>
            <p:cNvGrpSpPr/>
            <p:nvPr/>
          </p:nvGrpSpPr>
          <p:grpSpPr>
            <a:xfrm>
              <a:off x="5240497" y="2258376"/>
              <a:ext cx="1892617" cy="2446972"/>
              <a:chOff x="5205412" y="325754"/>
              <a:chExt cx="1892617" cy="2446972"/>
            </a:xfrm>
          </p:grpSpPr>
          <p:sp>
            <p:nvSpPr>
              <p:cNvPr id="67" name="任意多边形 168"/>
              <p:cNvSpPr/>
              <p:nvPr/>
            </p:nvSpPr>
            <p:spPr>
              <a:xfrm>
                <a:off x="6055042" y="425767"/>
                <a:ext cx="194309" cy="2346960"/>
              </a:xfrm>
              <a:custGeom>
                <a:avLst/>
                <a:gdLst>
                  <a:gd name="connsiteX0" fmla="*/ 194310 w 194309"/>
                  <a:gd name="connsiteY0" fmla="*/ 2346960 h 2346960"/>
                  <a:gd name="connsiteX1" fmla="*/ 0 w 194309"/>
                  <a:gd name="connsiteY1" fmla="*/ 2346960 h 2346960"/>
                  <a:gd name="connsiteX2" fmla="*/ 66675 w 194309"/>
                  <a:gd name="connsiteY2" fmla="*/ 0 h 2346960"/>
                  <a:gd name="connsiteX3" fmla="*/ 127635 w 194309"/>
                  <a:gd name="connsiteY3" fmla="*/ 0 h 2346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4309" h="2346960">
                    <a:moveTo>
                      <a:pt x="194310" y="2346960"/>
                    </a:moveTo>
                    <a:lnTo>
                      <a:pt x="0" y="2346960"/>
                    </a:lnTo>
                    <a:lnTo>
                      <a:pt x="66675" y="0"/>
                    </a:lnTo>
                    <a:lnTo>
                      <a:pt x="127635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8" name="组合 67"/>
              <p:cNvGrpSpPr/>
              <p:nvPr/>
            </p:nvGrpSpPr>
            <p:grpSpPr>
              <a:xfrm>
                <a:off x="5205412" y="325754"/>
                <a:ext cx="1892617" cy="1728787"/>
                <a:chOff x="5205412" y="325754"/>
                <a:chExt cx="1892617" cy="1728787"/>
              </a:xfrm>
            </p:grpSpPr>
            <p:sp>
              <p:nvSpPr>
                <p:cNvPr id="69" name="任意多边形 170"/>
                <p:cNvSpPr/>
                <p:nvPr/>
              </p:nvSpPr>
              <p:spPr>
                <a:xfrm>
                  <a:off x="5354954" y="596264"/>
                  <a:ext cx="741044" cy="741045"/>
                </a:xfrm>
                <a:custGeom>
                  <a:avLst/>
                  <a:gdLst>
                    <a:gd name="connsiteX0" fmla="*/ 741045 w 741044"/>
                    <a:gd name="connsiteY0" fmla="*/ 370523 h 741045"/>
                    <a:gd name="connsiteX1" fmla="*/ 370522 w 741044"/>
                    <a:gd name="connsiteY1" fmla="*/ 741045 h 741045"/>
                    <a:gd name="connsiteX2" fmla="*/ 0 w 741044"/>
                    <a:gd name="connsiteY2" fmla="*/ 370523 h 741045"/>
                    <a:gd name="connsiteX3" fmla="*/ 370522 w 741044"/>
                    <a:gd name="connsiteY3" fmla="*/ 0 h 741045"/>
                    <a:gd name="connsiteX4" fmla="*/ 741045 w 741044"/>
                    <a:gd name="connsiteY4" fmla="*/ 370523 h 741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1044" h="741045">
                      <a:moveTo>
                        <a:pt x="741045" y="370523"/>
                      </a:moveTo>
                      <a:cubicBezTo>
                        <a:pt x="741045" y="575310"/>
                        <a:pt x="575310" y="741045"/>
                        <a:pt x="370522" y="741045"/>
                      </a:cubicBezTo>
                      <a:cubicBezTo>
                        <a:pt x="165735" y="741045"/>
                        <a:pt x="0" y="575310"/>
                        <a:pt x="0" y="370523"/>
                      </a:cubicBezTo>
                      <a:cubicBezTo>
                        <a:pt x="0" y="165735"/>
                        <a:pt x="165735" y="0"/>
                        <a:pt x="370522" y="0"/>
                      </a:cubicBezTo>
                      <a:cubicBezTo>
                        <a:pt x="574357" y="0"/>
                        <a:pt x="741045" y="165735"/>
                        <a:pt x="741045" y="370523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0" name="任意多边形 171"/>
                <p:cNvSpPr/>
                <p:nvPr/>
              </p:nvSpPr>
              <p:spPr>
                <a:xfrm>
                  <a:off x="6587489" y="866769"/>
                  <a:ext cx="510540" cy="510545"/>
                </a:xfrm>
                <a:custGeom>
                  <a:avLst/>
                  <a:gdLst>
                    <a:gd name="connsiteX0" fmla="*/ 510540 w 510540"/>
                    <a:gd name="connsiteY0" fmla="*/ 255276 h 510545"/>
                    <a:gd name="connsiteX1" fmla="*/ 255270 w 510540"/>
                    <a:gd name="connsiteY1" fmla="*/ 510546 h 510545"/>
                    <a:gd name="connsiteX2" fmla="*/ 0 w 510540"/>
                    <a:gd name="connsiteY2" fmla="*/ 255276 h 510545"/>
                    <a:gd name="connsiteX3" fmla="*/ 255270 w 510540"/>
                    <a:gd name="connsiteY3" fmla="*/ 6 h 510545"/>
                    <a:gd name="connsiteX4" fmla="*/ 510540 w 510540"/>
                    <a:gd name="connsiteY4" fmla="*/ 255276 h 5105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0540" h="510545">
                      <a:moveTo>
                        <a:pt x="510540" y="255276"/>
                      </a:moveTo>
                      <a:cubicBezTo>
                        <a:pt x="510540" y="396246"/>
                        <a:pt x="396240" y="510546"/>
                        <a:pt x="255270" y="510546"/>
                      </a:cubicBezTo>
                      <a:cubicBezTo>
                        <a:pt x="114300" y="510546"/>
                        <a:pt x="0" y="396246"/>
                        <a:pt x="0" y="255276"/>
                      </a:cubicBezTo>
                      <a:cubicBezTo>
                        <a:pt x="0" y="114306"/>
                        <a:pt x="114300" y="6"/>
                        <a:pt x="255270" y="6"/>
                      </a:cubicBezTo>
                      <a:cubicBezTo>
                        <a:pt x="396240" y="-947"/>
                        <a:pt x="510540" y="114306"/>
                        <a:pt x="510540" y="255276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1" name="任意多边形 172"/>
                <p:cNvSpPr/>
                <p:nvPr/>
              </p:nvSpPr>
              <p:spPr>
                <a:xfrm>
                  <a:off x="5427344" y="545782"/>
                  <a:ext cx="1508760" cy="1508759"/>
                </a:xfrm>
                <a:custGeom>
                  <a:avLst/>
                  <a:gdLst>
                    <a:gd name="connsiteX0" fmla="*/ 1508760 w 1508760"/>
                    <a:gd name="connsiteY0" fmla="*/ 754380 h 1508759"/>
                    <a:gd name="connsiteX1" fmla="*/ 754380 w 1508760"/>
                    <a:gd name="connsiteY1" fmla="*/ 1508760 h 1508759"/>
                    <a:gd name="connsiteX2" fmla="*/ 0 w 1508760"/>
                    <a:gd name="connsiteY2" fmla="*/ 754380 h 1508759"/>
                    <a:gd name="connsiteX3" fmla="*/ 754380 w 1508760"/>
                    <a:gd name="connsiteY3" fmla="*/ 0 h 1508759"/>
                    <a:gd name="connsiteX4" fmla="*/ 1508760 w 1508760"/>
                    <a:gd name="connsiteY4" fmla="*/ 754380 h 1508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760" h="1508759">
                      <a:moveTo>
                        <a:pt x="1508760" y="754380"/>
                      </a:moveTo>
                      <a:cubicBezTo>
                        <a:pt x="1508760" y="1170623"/>
                        <a:pt x="1171575" y="1508760"/>
                        <a:pt x="754380" y="1508760"/>
                      </a:cubicBezTo>
                      <a:cubicBezTo>
                        <a:pt x="338138" y="1508760"/>
                        <a:pt x="0" y="1171575"/>
                        <a:pt x="0" y="754380"/>
                      </a:cubicBezTo>
                      <a:cubicBezTo>
                        <a:pt x="0" y="338138"/>
                        <a:pt x="337185" y="0"/>
                        <a:pt x="754380" y="0"/>
                      </a:cubicBezTo>
                      <a:cubicBezTo>
                        <a:pt x="1171575" y="953"/>
                        <a:pt x="1508760" y="338138"/>
                        <a:pt x="1508760" y="754380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2" name="任意多边形 173"/>
                <p:cNvSpPr/>
                <p:nvPr/>
              </p:nvSpPr>
              <p:spPr>
                <a:xfrm>
                  <a:off x="5205412" y="1026795"/>
                  <a:ext cx="798194" cy="798195"/>
                </a:xfrm>
                <a:custGeom>
                  <a:avLst/>
                  <a:gdLst>
                    <a:gd name="connsiteX0" fmla="*/ 798195 w 798194"/>
                    <a:gd name="connsiteY0" fmla="*/ 399097 h 798195"/>
                    <a:gd name="connsiteX1" fmla="*/ 399097 w 798194"/>
                    <a:gd name="connsiteY1" fmla="*/ 798195 h 798195"/>
                    <a:gd name="connsiteX2" fmla="*/ 0 w 798194"/>
                    <a:gd name="connsiteY2" fmla="*/ 399097 h 798195"/>
                    <a:gd name="connsiteX3" fmla="*/ 399097 w 798194"/>
                    <a:gd name="connsiteY3" fmla="*/ 0 h 798195"/>
                    <a:gd name="connsiteX4" fmla="*/ 798195 w 798194"/>
                    <a:gd name="connsiteY4" fmla="*/ 399097 h 798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98194" h="798195">
                      <a:moveTo>
                        <a:pt x="798195" y="399097"/>
                      </a:moveTo>
                      <a:cubicBezTo>
                        <a:pt x="798195" y="619125"/>
                        <a:pt x="619125" y="798195"/>
                        <a:pt x="399097" y="798195"/>
                      </a:cubicBezTo>
                      <a:cubicBezTo>
                        <a:pt x="179070" y="798195"/>
                        <a:pt x="0" y="619125"/>
                        <a:pt x="0" y="399097"/>
                      </a:cubicBezTo>
                      <a:cubicBezTo>
                        <a:pt x="0" y="179070"/>
                        <a:pt x="179070" y="0"/>
                        <a:pt x="399097" y="0"/>
                      </a:cubicBezTo>
                      <a:cubicBezTo>
                        <a:pt x="619125" y="0"/>
                        <a:pt x="798195" y="179070"/>
                        <a:pt x="798195" y="399097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3" name="任意多边形 174"/>
                <p:cNvSpPr/>
                <p:nvPr/>
              </p:nvSpPr>
              <p:spPr>
                <a:xfrm>
                  <a:off x="6276021" y="1425892"/>
                  <a:ext cx="609600" cy="609600"/>
                </a:xfrm>
                <a:custGeom>
                  <a:avLst/>
                  <a:gdLst>
                    <a:gd name="connsiteX0" fmla="*/ 609600 w 609600"/>
                    <a:gd name="connsiteY0" fmla="*/ 304800 h 609600"/>
                    <a:gd name="connsiteX1" fmla="*/ 304800 w 609600"/>
                    <a:gd name="connsiteY1" fmla="*/ 609600 h 609600"/>
                    <a:gd name="connsiteX2" fmla="*/ 0 w 609600"/>
                    <a:gd name="connsiteY2" fmla="*/ 304800 h 609600"/>
                    <a:gd name="connsiteX3" fmla="*/ 304800 w 609600"/>
                    <a:gd name="connsiteY3" fmla="*/ 0 h 609600"/>
                    <a:gd name="connsiteX4" fmla="*/ 609600 w 609600"/>
                    <a:gd name="connsiteY4" fmla="*/ 304800 h 609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9600" h="609600">
                      <a:moveTo>
                        <a:pt x="609600" y="304800"/>
                      </a:moveTo>
                      <a:cubicBezTo>
                        <a:pt x="609600" y="473392"/>
                        <a:pt x="473393" y="609600"/>
                        <a:pt x="304800" y="609600"/>
                      </a:cubicBezTo>
                      <a:cubicBezTo>
                        <a:pt x="136208" y="609600"/>
                        <a:pt x="0" y="473392"/>
                        <a:pt x="0" y="304800"/>
                      </a:cubicBezTo>
                      <a:cubicBezTo>
                        <a:pt x="0" y="136208"/>
                        <a:pt x="136208" y="0"/>
                        <a:pt x="304800" y="0"/>
                      </a:cubicBezTo>
                      <a:cubicBezTo>
                        <a:pt x="473393" y="0"/>
                        <a:pt x="609600" y="136208"/>
                        <a:pt x="609600" y="30480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4" name="任意多边形 175"/>
                <p:cNvSpPr/>
                <p:nvPr/>
              </p:nvSpPr>
              <p:spPr>
                <a:xfrm>
                  <a:off x="5838824" y="325754"/>
                  <a:ext cx="1003934" cy="1003934"/>
                </a:xfrm>
                <a:custGeom>
                  <a:avLst/>
                  <a:gdLst>
                    <a:gd name="connsiteX0" fmla="*/ 1003935 w 1003934"/>
                    <a:gd name="connsiteY0" fmla="*/ 501968 h 1003934"/>
                    <a:gd name="connsiteX1" fmla="*/ 501968 w 1003934"/>
                    <a:gd name="connsiteY1" fmla="*/ 1003935 h 1003934"/>
                    <a:gd name="connsiteX2" fmla="*/ 0 w 1003934"/>
                    <a:gd name="connsiteY2" fmla="*/ 501968 h 1003934"/>
                    <a:gd name="connsiteX3" fmla="*/ 501968 w 1003934"/>
                    <a:gd name="connsiteY3" fmla="*/ 0 h 1003934"/>
                    <a:gd name="connsiteX4" fmla="*/ 1003935 w 1003934"/>
                    <a:gd name="connsiteY4" fmla="*/ 501968 h 1003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3934" h="1003934">
                      <a:moveTo>
                        <a:pt x="1003935" y="501968"/>
                      </a:moveTo>
                      <a:cubicBezTo>
                        <a:pt x="1003935" y="779145"/>
                        <a:pt x="779145" y="1003935"/>
                        <a:pt x="501968" y="1003935"/>
                      </a:cubicBezTo>
                      <a:cubicBezTo>
                        <a:pt x="224790" y="1003935"/>
                        <a:pt x="0" y="779145"/>
                        <a:pt x="0" y="501968"/>
                      </a:cubicBezTo>
                      <a:cubicBezTo>
                        <a:pt x="0" y="224790"/>
                        <a:pt x="224790" y="0"/>
                        <a:pt x="501968" y="0"/>
                      </a:cubicBezTo>
                      <a:cubicBezTo>
                        <a:pt x="779145" y="0"/>
                        <a:pt x="1003935" y="224790"/>
                        <a:pt x="1003935" y="501968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5" name="任意多边形 176"/>
                <p:cNvSpPr/>
                <p:nvPr/>
              </p:nvSpPr>
              <p:spPr>
                <a:xfrm>
                  <a:off x="6095046" y="1067752"/>
                  <a:ext cx="716280" cy="716280"/>
                </a:xfrm>
                <a:custGeom>
                  <a:avLst/>
                  <a:gdLst>
                    <a:gd name="connsiteX0" fmla="*/ 716280 w 716280"/>
                    <a:gd name="connsiteY0" fmla="*/ 358140 h 716280"/>
                    <a:gd name="connsiteX1" fmla="*/ 358140 w 716280"/>
                    <a:gd name="connsiteY1" fmla="*/ 716280 h 716280"/>
                    <a:gd name="connsiteX2" fmla="*/ 0 w 716280"/>
                    <a:gd name="connsiteY2" fmla="*/ 358140 h 716280"/>
                    <a:gd name="connsiteX3" fmla="*/ 358140 w 716280"/>
                    <a:gd name="connsiteY3" fmla="*/ 0 h 716280"/>
                    <a:gd name="connsiteX4" fmla="*/ 716280 w 716280"/>
                    <a:gd name="connsiteY4" fmla="*/ 358140 h 716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6280" h="716280">
                      <a:moveTo>
                        <a:pt x="716280" y="358140"/>
                      </a:moveTo>
                      <a:cubicBezTo>
                        <a:pt x="716280" y="556260"/>
                        <a:pt x="556260" y="716280"/>
                        <a:pt x="358140" y="716280"/>
                      </a:cubicBezTo>
                      <a:cubicBezTo>
                        <a:pt x="160020" y="716280"/>
                        <a:pt x="0" y="556260"/>
                        <a:pt x="0" y="358140"/>
                      </a:cubicBezTo>
                      <a:cubicBezTo>
                        <a:pt x="0" y="160020"/>
                        <a:pt x="160020" y="0"/>
                        <a:pt x="358140" y="0"/>
                      </a:cubicBezTo>
                      <a:cubicBezTo>
                        <a:pt x="556260" y="0"/>
                        <a:pt x="716280" y="160020"/>
                        <a:pt x="716280" y="35814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" name="任意多边形 177"/>
                <p:cNvSpPr/>
                <p:nvPr/>
              </p:nvSpPr>
              <p:spPr>
                <a:xfrm>
                  <a:off x="5825489" y="1122045"/>
                  <a:ext cx="356234" cy="356234"/>
                </a:xfrm>
                <a:custGeom>
                  <a:avLst/>
                  <a:gdLst>
                    <a:gd name="connsiteX0" fmla="*/ 356235 w 356234"/>
                    <a:gd name="connsiteY0" fmla="*/ 178117 h 356234"/>
                    <a:gd name="connsiteX1" fmla="*/ 178117 w 356234"/>
                    <a:gd name="connsiteY1" fmla="*/ 356235 h 356234"/>
                    <a:gd name="connsiteX2" fmla="*/ 0 w 356234"/>
                    <a:gd name="connsiteY2" fmla="*/ 178117 h 356234"/>
                    <a:gd name="connsiteX3" fmla="*/ 178117 w 356234"/>
                    <a:gd name="connsiteY3" fmla="*/ 0 h 356234"/>
                    <a:gd name="connsiteX4" fmla="*/ 356235 w 356234"/>
                    <a:gd name="connsiteY4" fmla="*/ 178117 h 3562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234" h="356234">
                      <a:moveTo>
                        <a:pt x="356235" y="178117"/>
                      </a:moveTo>
                      <a:cubicBezTo>
                        <a:pt x="356235" y="276225"/>
                        <a:pt x="276225" y="356235"/>
                        <a:pt x="178117" y="356235"/>
                      </a:cubicBezTo>
                      <a:cubicBezTo>
                        <a:pt x="80010" y="356235"/>
                        <a:pt x="0" y="276225"/>
                        <a:pt x="0" y="178117"/>
                      </a:cubicBezTo>
                      <a:cubicBezTo>
                        <a:pt x="0" y="80010"/>
                        <a:pt x="80010" y="0"/>
                        <a:pt x="178117" y="0"/>
                      </a:cubicBezTo>
                      <a:cubicBezTo>
                        <a:pt x="277178" y="0"/>
                        <a:pt x="356235" y="80010"/>
                        <a:pt x="356235" y="178117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7" name="任意多边形 178"/>
                <p:cNvSpPr/>
                <p:nvPr/>
              </p:nvSpPr>
              <p:spPr>
                <a:xfrm>
                  <a:off x="6644639" y="1199197"/>
                  <a:ext cx="419100" cy="419099"/>
                </a:xfrm>
                <a:custGeom>
                  <a:avLst/>
                  <a:gdLst>
                    <a:gd name="connsiteX0" fmla="*/ 419100 w 419100"/>
                    <a:gd name="connsiteY0" fmla="*/ 209550 h 419099"/>
                    <a:gd name="connsiteX1" fmla="*/ 209550 w 419100"/>
                    <a:gd name="connsiteY1" fmla="*/ 419100 h 419099"/>
                    <a:gd name="connsiteX2" fmla="*/ 0 w 419100"/>
                    <a:gd name="connsiteY2" fmla="*/ 209550 h 419099"/>
                    <a:gd name="connsiteX3" fmla="*/ 209550 w 419100"/>
                    <a:gd name="connsiteY3" fmla="*/ 0 h 419099"/>
                    <a:gd name="connsiteX4" fmla="*/ 419100 w 419100"/>
                    <a:gd name="connsiteY4" fmla="*/ 209550 h 419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9100" h="419099">
                      <a:moveTo>
                        <a:pt x="419100" y="209550"/>
                      </a:moveTo>
                      <a:cubicBezTo>
                        <a:pt x="419100" y="325755"/>
                        <a:pt x="324803" y="419100"/>
                        <a:pt x="209550" y="419100"/>
                      </a:cubicBezTo>
                      <a:cubicBezTo>
                        <a:pt x="93345" y="419100"/>
                        <a:pt x="0" y="324803"/>
                        <a:pt x="0" y="209550"/>
                      </a:cubicBezTo>
                      <a:cubicBezTo>
                        <a:pt x="0" y="93345"/>
                        <a:pt x="94297" y="0"/>
                        <a:pt x="209550" y="0"/>
                      </a:cubicBezTo>
                      <a:cubicBezTo>
                        <a:pt x="325755" y="0"/>
                        <a:pt x="419100" y="94298"/>
                        <a:pt x="419100" y="20955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8" name="任意多边形 179"/>
                <p:cNvSpPr/>
                <p:nvPr/>
              </p:nvSpPr>
              <p:spPr>
                <a:xfrm>
                  <a:off x="5653087" y="1349692"/>
                  <a:ext cx="499109" cy="499110"/>
                </a:xfrm>
                <a:custGeom>
                  <a:avLst/>
                  <a:gdLst>
                    <a:gd name="connsiteX0" fmla="*/ 499110 w 499109"/>
                    <a:gd name="connsiteY0" fmla="*/ 249555 h 499110"/>
                    <a:gd name="connsiteX1" fmla="*/ 249555 w 499109"/>
                    <a:gd name="connsiteY1" fmla="*/ 499110 h 499110"/>
                    <a:gd name="connsiteX2" fmla="*/ 0 w 499109"/>
                    <a:gd name="connsiteY2" fmla="*/ 249555 h 499110"/>
                    <a:gd name="connsiteX3" fmla="*/ 249555 w 499109"/>
                    <a:gd name="connsiteY3" fmla="*/ 0 h 499110"/>
                    <a:gd name="connsiteX4" fmla="*/ 499110 w 499109"/>
                    <a:gd name="connsiteY4" fmla="*/ 249555 h 499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9109" h="499110">
                      <a:moveTo>
                        <a:pt x="499110" y="249555"/>
                      </a:moveTo>
                      <a:cubicBezTo>
                        <a:pt x="499110" y="387667"/>
                        <a:pt x="387668" y="499110"/>
                        <a:pt x="249555" y="499110"/>
                      </a:cubicBezTo>
                      <a:cubicBezTo>
                        <a:pt x="111443" y="499110"/>
                        <a:pt x="0" y="387667"/>
                        <a:pt x="0" y="249555"/>
                      </a:cubicBezTo>
                      <a:cubicBezTo>
                        <a:pt x="0" y="111442"/>
                        <a:pt x="111443" y="0"/>
                        <a:pt x="249555" y="0"/>
                      </a:cubicBezTo>
                      <a:cubicBezTo>
                        <a:pt x="386715" y="0"/>
                        <a:pt x="499110" y="111442"/>
                        <a:pt x="499110" y="249555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8" name="组合 7"/>
            <p:cNvGrpSpPr/>
            <p:nvPr/>
          </p:nvGrpSpPr>
          <p:grpSpPr>
            <a:xfrm>
              <a:off x="3252047" y="2196916"/>
              <a:ext cx="995191" cy="2508433"/>
              <a:chOff x="3216962" y="264294"/>
              <a:chExt cx="995191" cy="2508433"/>
            </a:xfrm>
          </p:grpSpPr>
          <p:sp>
            <p:nvSpPr>
              <p:cNvPr id="56" name="任意多边形 183"/>
              <p:cNvSpPr/>
              <p:nvPr/>
            </p:nvSpPr>
            <p:spPr>
              <a:xfrm>
                <a:off x="3281110" y="264294"/>
                <a:ext cx="868010" cy="2011450"/>
              </a:xfrm>
              <a:custGeom>
                <a:avLst/>
                <a:gdLst>
                  <a:gd name="connsiteX0" fmla="*/ 526032 w 868010"/>
                  <a:gd name="connsiteY0" fmla="*/ 1999798 h 2011450"/>
                  <a:gd name="connsiteX1" fmla="*/ 838452 w 868010"/>
                  <a:gd name="connsiteY1" fmla="*/ 1649278 h 2011450"/>
                  <a:gd name="connsiteX2" fmla="*/ 768919 w 868010"/>
                  <a:gd name="connsiteY2" fmla="*/ 172903 h 2011450"/>
                  <a:gd name="connsiteX3" fmla="*/ 105979 w 868010"/>
                  <a:gd name="connsiteY3" fmla="*/ 97656 h 2011450"/>
                  <a:gd name="connsiteX4" fmla="*/ 35495 w 868010"/>
                  <a:gd name="connsiteY4" fmla="*/ 1321618 h 2011450"/>
                  <a:gd name="connsiteX5" fmla="*/ 526032 w 868010"/>
                  <a:gd name="connsiteY5" fmla="*/ 1999798 h 201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8010" h="2011450">
                    <a:moveTo>
                      <a:pt x="526032" y="1999798"/>
                    </a:moveTo>
                    <a:cubicBezTo>
                      <a:pt x="643190" y="1975033"/>
                      <a:pt x="826069" y="1932171"/>
                      <a:pt x="838452" y="1649278"/>
                    </a:cubicBezTo>
                    <a:cubicBezTo>
                      <a:pt x="850835" y="1367338"/>
                      <a:pt x="927987" y="352926"/>
                      <a:pt x="768919" y="172903"/>
                    </a:cubicBezTo>
                    <a:cubicBezTo>
                      <a:pt x="609852" y="-8072"/>
                      <a:pt x="305052" y="-69032"/>
                      <a:pt x="105979" y="97656"/>
                    </a:cubicBezTo>
                    <a:cubicBezTo>
                      <a:pt x="-93093" y="263391"/>
                      <a:pt x="52639" y="1125403"/>
                      <a:pt x="35495" y="1321618"/>
                    </a:cubicBezTo>
                    <a:cubicBezTo>
                      <a:pt x="17397" y="1517833"/>
                      <a:pt x="42162" y="2100763"/>
                      <a:pt x="526032" y="19997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 184"/>
              <p:cNvSpPr/>
              <p:nvPr/>
            </p:nvSpPr>
            <p:spPr>
              <a:xfrm>
                <a:off x="3702315" y="1480537"/>
                <a:ext cx="489368" cy="580319"/>
              </a:xfrm>
              <a:custGeom>
                <a:avLst/>
                <a:gdLst>
                  <a:gd name="connsiteX0" fmla="*/ 230556 w 489368"/>
                  <a:gd name="connsiteY0" fmla="*/ 579720 h 580319"/>
                  <a:gd name="connsiteX1" fmla="*/ 462966 w 489368"/>
                  <a:gd name="connsiteY1" fmla="*/ 432083 h 580319"/>
                  <a:gd name="connsiteX2" fmla="*/ 380099 w 489368"/>
                  <a:gd name="connsiteY2" fmla="*/ 32985 h 580319"/>
                  <a:gd name="connsiteX3" fmla="*/ 21006 w 489368"/>
                  <a:gd name="connsiteY3" fmla="*/ 136808 h 580319"/>
                  <a:gd name="connsiteX4" fmla="*/ 230556 w 489368"/>
                  <a:gd name="connsiteY4" fmla="*/ 579720 h 580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9368" h="580319">
                    <a:moveTo>
                      <a:pt x="230556" y="579720"/>
                    </a:moveTo>
                    <a:cubicBezTo>
                      <a:pt x="335331" y="573053"/>
                      <a:pt x="423914" y="542573"/>
                      <a:pt x="462966" y="432083"/>
                    </a:cubicBezTo>
                    <a:cubicBezTo>
                      <a:pt x="502019" y="321593"/>
                      <a:pt x="514401" y="113948"/>
                      <a:pt x="380099" y="32985"/>
                    </a:cubicBezTo>
                    <a:cubicBezTo>
                      <a:pt x="246749" y="-47977"/>
                      <a:pt x="58154" y="32985"/>
                      <a:pt x="21006" y="136808"/>
                    </a:cubicBezTo>
                    <a:cubicBezTo>
                      <a:pt x="-16141" y="241583"/>
                      <a:pt x="-33286" y="596865"/>
                      <a:pt x="230556" y="57972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 185"/>
              <p:cNvSpPr/>
              <p:nvPr/>
            </p:nvSpPr>
            <p:spPr>
              <a:xfrm>
                <a:off x="3653789" y="948689"/>
                <a:ext cx="150495" cy="1824037"/>
              </a:xfrm>
              <a:custGeom>
                <a:avLst/>
                <a:gdLst>
                  <a:gd name="connsiteX0" fmla="*/ 150495 w 150495"/>
                  <a:gd name="connsiteY0" fmla="*/ 1824038 h 1824037"/>
                  <a:gd name="connsiteX1" fmla="*/ 0 w 150495"/>
                  <a:gd name="connsiteY1" fmla="*/ 1824038 h 1824037"/>
                  <a:gd name="connsiteX2" fmla="*/ 51435 w 150495"/>
                  <a:gd name="connsiteY2" fmla="*/ 0 h 1824037"/>
                  <a:gd name="connsiteX3" fmla="*/ 99060 w 150495"/>
                  <a:gd name="connsiteY3" fmla="*/ 0 h 1824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495" h="1824037">
                    <a:moveTo>
                      <a:pt x="150495" y="1824038"/>
                    </a:moveTo>
                    <a:lnTo>
                      <a:pt x="0" y="1824038"/>
                    </a:lnTo>
                    <a:lnTo>
                      <a:pt x="51435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 186"/>
              <p:cNvSpPr/>
              <p:nvPr/>
            </p:nvSpPr>
            <p:spPr>
              <a:xfrm>
                <a:off x="3443804" y="838200"/>
                <a:ext cx="284279" cy="289560"/>
              </a:xfrm>
              <a:custGeom>
                <a:avLst/>
                <a:gdLst>
                  <a:gd name="connsiteX0" fmla="*/ 284280 w 284279"/>
                  <a:gd name="connsiteY0" fmla="*/ 235267 h 289560"/>
                  <a:gd name="connsiteX1" fmla="*/ 64252 w 284279"/>
                  <a:gd name="connsiteY1" fmla="*/ 0 h 289560"/>
                  <a:gd name="connsiteX2" fmla="*/ 435 w 284279"/>
                  <a:gd name="connsiteY2" fmla="*/ 20002 h 289560"/>
                  <a:gd name="connsiteX3" fmla="*/ 281422 w 284279"/>
                  <a:gd name="connsiteY3" fmla="*/ 289560 h 289560"/>
                  <a:gd name="connsiteX4" fmla="*/ 284280 w 284279"/>
                  <a:gd name="connsiteY4" fmla="*/ 235267 h 289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60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 187"/>
              <p:cNvSpPr/>
              <p:nvPr/>
            </p:nvSpPr>
            <p:spPr>
              <a:xfrm>
                <a:off x="3443804" y="1560195"/>
                <a:ext cx="284279" cy="289559"/>
              </a:xfrm>
              <a:custGeom>
                <a:avLst/>
                <a:gdLst>
                  <a:gd name="connsiteX0" fmla="*/ 284280 w 284279"/>
                  <a:gd name="connsiteY0" fmla="*/ 235267 h 289559"/>
                  <a:gd name="connsiteX1" fmla="*/ 64252 w 284279"/>
                  <a:gd name="connsiteY1" fmla="*/ 0 h 289559"/>
                  <a:gd name="connsiteX2" fmla="*/ 435 w 284279"/>
                  <a:gd name="connsiteY2" fmla="*/ 20002 h 289559"/>
                  <a:gd name="connsiteX3" fmla="*/ 281422 w 284279"/>
                  <a:gd name="connsiteY3" fmla="*/ 289560 h 289559"/>
                  <a:gd name="connsiteX4" fmla="*/ 284280 w 284279"/>
                  <a:gd name="connsiteY4" fmla="*/ 235267 h 289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59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 188"/>
              <p:cNvSpPr/>
              <p:nvPr/>
            </p:nvSpPr>
            <p:spPr>
              <a:xfrm>
                <a:off x="3724274" y="1116329"/>
                <a:ext cx="317182" cy="255270"/>
              </a:xfrm>
              <a:custGeom>
                <a:avLst/>
                <a:gdLst>
                  <a:gd name="connsiteX0" fmla="*/ 5715 w 317182"/>
                  <a:gd name="connsiteY0" fmla="*/ 200978 h 255270"/>
                  <a:gd name="connsiteX1" fmla="*/ 257175 w 317182"/>
                  <a:gd name="connsiteY1" fmla="*/ 0 h 255270"/>
                  <a:gd name="connsiteX2" fmla="*/ 317183 w 317182"/>
                  <a:gd name="connsiteY2" fmla="*/ 29528 h 255270"/>
                  <a:gd name="connsiteX3" fmla="*/ 0 w 317182"/>
                  <a:gd name="connsiteY3" fmla="*/ 255270 h 255270"/>
                  <a:gd name="connsiteX4" fmla="*/ 5715 w 317182"/>
                  <a:gd name="connsiteY4" fmla="*/ 200978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7182" h="255270">
                    <a:moveTo>
                      <a:pt x="5715" y="200978"/>
                    </a:moveTo>
                    <a:cubicBezTo>
                      <a:pt x="5715" y="200978"/>
                      <a:pt x="255270" y="248603"/>
                      <a:pt x="257175" y="0"/>
                    </a:cubicBezTo>
                    <a:lnTo>
                      <a:pt x="317183" y="29528"/>
                    </a:lnTo>
                    <a:cubicBezTo>
                      <a:pt x="317183" y="29528"/>
                      <a:pt x="308610" y="252413"/>
                      <a:pt x="0" y="255270"/>
                    </a:cubicBezTo>
                    <a:lnTo>
                      <a:pt x="5715" y="2009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 189"/>
              <p:cNvSpPr/>
              <p:nvPr/>
            </p:nvSpPr>
            <p:spPr>
              <a:xfrm>
                <a:off x="3741419" y="1302067"/>
                <a:ext cx="199239" cy="294322"/>
              </a:xfrm>
              <a:custGeom>
                <a:avLst/>
                <a:gdLst>
                  <a:gd name="connsiteX0" fmla="*/ 0 w 199239"/>
                  <a:gd name="connsiteY0" fmla="*/ 239078 h 294322"/>
                  <a:gd name="connsiteX1" fmla="*/ 155257 w 199239"/>
                  <a:gd name="connsiteY1" fmla="*/ 953 h 294322"/>
                  <a:gd name="connsiteX2" fmla="*/ 199072 w 199239"/>
                  <a:gd name="connsiteY2" fmla="*/ 0 h 294322"/>
                  <a:gd name="connsiteX3" fmla="*/ 952 w 199239"/>
                  <a:gd name="connsiteY3" fmla="*/ 294323 h 294322"/>
                  <a:gd name="connsiteX4" fmla="*/ 0 w 199239"/>
                  <a:gd name="connsiteY4" fmla="*/ 239078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8"/>
                    </a:moveTo>
                    <a:cubicBezTo>
                      <a:pt x="0" y="239078"/>
                      <a:pt x="175260" y="245745"/>
                      <a:pt x="155257" y="953"/>
                    </a:cubicBezTo>
                    <a:lnTo>
                      <a:pt x="199072" y="0"/>
                    </a:lnTo>
                    <a:cubicBezTo>
                      <a:pt x="199072" y="0"/>
                      <a:pt x="212408" y="240983"/>
                      <a:pt x="952" y="294323"/>
                    </a:cubicBezTo>
                    <a:lnTo>
                      <a:pt x="0" y="2390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 190"/>
              <p:cNvSpPr/>
              <p:nvPr/>
            </p:nvSpPr>
            <p:spPr>
              <a:xfrm>
                <a:off x="3741419" y="1663065"/>
                <a:ext cx="199239" cy="294322"/>
              </a:xfrm>
              <a:custGeom>
                <a:avLst/>
                <a:gdLst>
                  <a:gd name="connsiteX0" fmla="*/ 0 w 199239"/>
                  <a:gd name="connsiteY0" fmla="*/ 239077 h 294322"/>
                  <a:gd name="connsiteX1" fmla="*/ 155257 w 199239"/>
                  <a:gd name="connsiteY1" fmla="*/ 952 h 294322"/>
                  <a:gd name="connsiteX2" fmla="*/ 199072 w 199239"/>
                  <a:gd name="connsiteY2" fmla="*/ 0 h 294322"/>
                  <a:gd name="connsiteX3" fmla="*/ 952 w 199239"/>
                  <a:gd name="connsiteY3" fmla="*/ 294322 h 294322"/>
                  <a:gd name="connsiteX4" fmla="*/ 0 w 199239"/>
                  <a:gd name="connsiteY4" fmla="*/ 239077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7"/>
                    </a:moveTo>
                    <a:cubicBezTo>
                      <a:pt x="0" y="239077"/>
                      <a:pt x="175260" y="245745"/>
                      <a:pt x="155257" y="952"/>
                    </a:cubicBezTo>
                    <a:lnTo>
                      <a:pt x="199072" y="0"/>
                    </a:lnTo>
                    <a:cubicBezTo>
                      <a:pt x="199072" y="0"/>
                      <a:pt x="212408" y="240982"/>
                      <a:pt x="952" y="294322"/>
                    </a:cubicBezTo>
                    <a:lnTo>
                      <a:pt x="0" y="23907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 191"/>
              <p:cNvSpPr/>
              <p:nvPr/>
            </p:nvSpPr>
            <p:spPr>
              <a:xfrm>
                <a:off x="3216962" y="326204"/>
                <a:ext cx="488947" cy="660283"/>
              </a:xfrm>
              <a:custGeom>
                <a:avLst/>
                <a:gdLst>
                  <a:gd name="connsiteX0" fmla="*/ 230135 w 488947"/>
                  <a:gd name="connsiteY0" fmla="*/ 659633 h 660283"/>
                  <a:gd name="connsiteX1" fmla="*/ 462545 w 488947"/>
                  <a:gd name="connsiteY1" fmla="*/ 491993 h 660283"/>
                  <a:gd name="connsiteX2" fmla="*/ 379677 w 488947"/>
                  <a:gd name="connsiteY2" fmla="*/ 37650 h 660283"/>
                  <a:gd name="connsiteX3" fmla="*/ 20585 w 488947"/>
                  <a:gd name="connsiteY3" fmla="*/ 155760 h 660283"/>
                  <a:gd name="connsiteX4" fmla="*/ 230135 w 488947"/>
                  <a:gd name="connsiteY4" fmla="*/ 659633 h 660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8947" h="660283">
                    <a:moveTo>
                      <a:pt x="230135" y="659633"/>
                    </a:moveTo>
                    <a:cubicBezTo>
                      <a:pt x="334910" y="652013"/>
                      <a:pt x="423492" y="617723"/>
                      <a:pt x="462545" y="491993"/>
                    </a:cubicBezTo>
                    <a:cubicBezTo>
                      <a:pt x="501597" y="366263"/>
                      <a:pt x="513980" y="130043"/>
                      <a:pt x="379677" y="37650"/>
                    </a:cubicBezTo>
                    <a:cubicBezTo>
                      <a:pt x="246327" y="-54742"/>
                      <a:pt x="57732" y="37650"/>
                      <a:pt x="20585" y="155760"/>
                    </a:cubicBezTo>
                    <a:cubicBezTo>
                      <a:pt x="-15610" y="273870"/>
                      <a:pt x="-33708" y="678683"/>
                      <a:pt x="230135" y="659633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 192"/>
              <p:cNvSpPr/>
              <p:nvPr/>
            </p:nvSpPr>
            <p:spPr>
              <a:xfrm>
                <a:off x="3871574" y="708915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 193"/>
              <p:cNvSpPr/>
              <p:nvPr/>
            </p:nvSpPr>
            <p:spPr>
              <a:xfrm>
                <a:off x="3242924" y="1171830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4118451" y="4450079"/>
              <a:ext cx="707707" cy="256222"/>
              <a:chOff x="4083366" y="2517457"/>
              <a:chExt cx="707707" cy="256222"/>
            </a:xfrm>
          </p:grpSpPr>
          <p:sp>
            <p:nvSpPr>
              <p:cNvPr id="52" name="任意多边形 196"/>
              <p:cNvSpPr/>
              <p:nvPr/>
            </p:nvSpPr>
            <p:spPr>
              <a:xfrm>
                <a:off x="4195762" y="2517457"/>
                <a:ext cx="510540" cy="255270"/>
              </a:xfrm>
              <a:custGeom>
                <a:avLst/>
                <a:gdLst>
                  <a:gd name="connsiteX0" fmla="*/ 255270 w 510540"/>
                  <a:gd name="connsiteY0" fmla="*/ 0 h 255270"/>
                  <a:gd name="connsiteX1" fmla="*/ 0 w 510540"/>
                  <a:gd name="connsiteY1" fmla="*/ 255270 h 255270"/>
                  <a:gd name="connsiteX2" fmla="*/ 510540 w 510540"/>
                  <a:gd name="connsiteY2" fmla="*/ 255270 h 255270"/>
                  <a:gd name="connsiteX3" fmla="*/ 255270 w 510540"/>
                  <a:gd name="connsiteY3" fmla="*/ 0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0540" h="255270">
                    <a:moveTo>
                      <a:pt x="255270" y="0"/>
                    </a:moveTo>
                    <a:cubicBezTo>
                      <a:pt x="114300" y="0"/>
                      <a:pt x="0" y="114300"/>
                      <a:pt x="0" y="255270"/>
                    </a:cubicBezTo>
                    <a:lnTo>
                      <a:pt x="510540" y="255270"/>
                    </a:lnTo>
                    <a:cubicBezTo>
                      <a:pt x="510540" y="114300"/>
                      <a:pt x="396240" y="0"/>
                      <a:pt x="255270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 197"/>
              <p:cNvSpPr/>
              <p:nvPr/>
            </p:nvSpPr>
            <p:spPr>
              <a:xfrm>
                <a:off x="4083366" y="2619375"/>
                <a:ext cx="307657" cy="154305"/>
              </a:xfrm>
              <a:custGeom>
                <a:avLst/>
                <a:gdLst>
                  <a:gd name="connsiteX0" fmla="*/ 154305 w 307657"/>
                  <a:gd name="connsiteY0" fmla="*/ 0 h 154305"/>
                  <a:gd name="connsiteX1" fmla="*/ 0 w 307657"/>
                  <a:gd name="connsiteY1" fmla="*/ 154305 h 154305"/>
                  <a:gd name="connsiteX2" fmla="*/ 307658 w 307657"/>
                  <a:gd name="connsiteY2" fmla="*/ 154305 h 154305"/>
                  <a:gd name="connsiteX3" fmla="*/ 154305 w 307657"/>
                  <a:gd name="connsiteY3" fmla="*/ 0 h 154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7657" h="154305">
                    <a:moveTo>
                      <a:pt x="154305" y="0"/>
                    </a:moveTo>
                    <a:cubicBezTo>
                      <a:pt x="69533" y="0"/>
                      <a:pt x="0" y="68580"/>
                      <a:pt x="0" y="154305"/>
                    </a:cubicBezTo>
                    <a:lnTo>
                      <a:pt x="307658" y="154305"/>
                    </a:lnTo>
                    <a:cubicBezTo>
                      <a:pt x="307658" y="68580"/>
                      <a:pt x="239078" y="0"/>
                      <a:pt x="15430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 198"/>
              <p:cNvSpPr/>
              <p:nvPr/>
            </p:nvSpPr>
            <p:spPr>
              <a:xfrm>
                <a:off x="4277677" y="2664142"/>
                <a:ext cx="217169" cy="108584"/>
              </a:xfrm>
              <a:custGeom>
                <a:avLst/>
                <a:gdLst>
                  <a:gd name="connsiteX0" fmla="*/ 108585 w 217169"/>
                  <a:gd name="connsiteY0" fmla="*/ 0 h 108584"/>
                  <a:gd name="connsiteX1" fmla="*/ 0 w 217169"/>
                  <a:gd name="connsiteY1" fmla="*/ 108585 h 108584"/>
                  <a:gd name="connsiteX2" fmla="*/ 217170 w 217169"/>
                  <a:gd name="connsiteY2" fmla="*/ 108585 h 108584"/>
                  <a:gd name="connsiteX3" fmla="*/ 108585 w 217169"/>
                  <a:gd name="connsiteY3" fmla="*/ 0 h 108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7169" h="108584">
                    <a:moveTo>
                      <a:pt x="108585" y="0"/>
                    </a:moveTo>
                    <a:cubicBezTo>
                      <a:pt x="48577" y="0"/>
                      <a:pt x="0" y="48577"/>
                      <a:pt x="0" y="108585"/>
                    </a:cubicBezTo>
                    <a:lnTo>
                      <a:pt x="217170" y="108585"/>
                    </a:lnTo>
                    <a:cubicBezTo>
                      <a:pt x="217170" y="48577"/>
                      <a:pt x="168592" y="0"/>
                      <a:pt x="10858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 199"/>
              <p:cNvSpPr/>
              <p:nvPr/>
            </p:nvSpPr>
            <p:spPr>
              <a:xfrm>
                <a:off x="4589144" y="2671762"/>
                <a:ext cx="201929" cy="100965"/>
              </a:xfrm>
              <a:custGeom>
                <a:avLst/>
                <a:gdLst>
                  <a:gd name="connsiteX0" fmla="*/ 100965 w 201929"/>
                  <a:gd name="connsiteY0" fmla="*/ 0 h 100965"/>
                  <a:gd name="connsiteX1" fmla="*/ 0 w 201929"/>
                  <a:gd name="connsiteY1" fmla="*/ 100965 h 100965"/>
                  <a:gd name="connsiteX2" fmla="*/ 201930 w 201929"/>
                  <a:gd name="connsiteY2" fmla="*/ 100965 h 100965"/>
                  <a:gd name="connsiteX3" fmla="*/ 100965 w 201929"/>
                  <a:gd name="connsiteY3" fmla="*/ 0 h 100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1929" h="100965">
                    <a:moveTo>
                      <a:pt x="100965" y="0"/>
                    </a:moveTo>
                    <a:cubicBezTo>
                      <a:pt x="45720" y="0"/>
                      <a:pt x="0" y="44768"/>
                      <a:pt x="0" y="100965"/>
                    </a:cubicBezTo>
                    <a:lnTo>
                      <a:pt x="201930" y="100965"/>
                    </a:lnTo>
                    <a:cubicBezTo>
                      <a:pt x="201930" y="45720"/>
                      <a:pt x="157163" y="0"/>
                      <a:pt x="100965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7536022" y="4531994"/>
              <a:ext cx="482917" cy="174307"/>
              <a:chOff x="7500937" y="2599372"/>
              <a:chExt cx="482917" cy="174307"/>
            </a:xfrm>
          </p:grpSpPr>
          <p:sp>
            <p:nvSpPr>
              <p:cNvPr id="48" name="任意多边形 201"/>
              <p:cNvSpPr/>
              <p:nvPr/>
            </p:nvSpPr>
            <p:spPr>
              <a:xfrm>
                <a:off x="7578089" y="2599372"/>
                <a:ext cx="347662" cy="174307"/>
              </a:xfrm>
              <a:custGeom>
                <a:avLst/>
                <a:gdLst>
                  <a:gd name="connsiteX0" fmla="*/ 174308 w 347662"/>
                  <a:gd name="connsiteY0" fmla="*/ 0 h 174307"/>
                  <a:gd name="connsiteX1" fmla="*/ 0 w 347662"/>
                  <a:gd name="connsiteY1" fmla="*/ 174308 h 174307"/>
                  <a:gd name="connsiteX2" fmla="*/ 347662 w 347662"/>
                  <a:gd name="connsiteY2" fmla="*/ 174308 h 174307"/>
                  <a:gd name="connsiteX3" fmla="*/ 174308 w 347662"/>
                  <a:gd name="connsiteY3" fmla="*/ 0 h 17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7662" h="174307">
                    <a:moveTo>
                      <a:pt x="174308" y="0"/>
                    </a:moveTo>
                    <a:cubicBezTo>
                      <a:pt x="78105" y="0"/>
                      <a:pt x="0" y="78105"/>
                      <a:pt x="0" y="174308"/>
                    </a:cubicBezTo>
                    <a:lnTo>
                      <a:pt x="347662" y="174308"/>
                    </a:lnTo>
                    <a:cubicBezTo>
                      <a:pt x="347662" y="77153"/>
                      <a:pt x="269558" y="0"/>
                      <a:pt x="174308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 202"/>
              <p:cNvSpPr/>
              <p:nvPr/>
            </p:nvSpPr>
            <p:spPr>
              <a:xfrm>
                <a:off x="7500937" y="2667952"/>
                <a:ext cx="209550" cy="104775"/>
              </a:xfrm>
              <a:custGeom>
                <a:avLst/>
                <a:gdLst>
                  <a:gd name="connsiteX0" fmla="*/ 104775 w 209550"/>
                  <a:gd name="connsiteY0" fmla="*/ 0 h 104775"/>
                  <a:gd name="connsiteX1" fmla="*/ 0 w 209550"/>
                  <a:gd name="connsiteY1" fmla="*/ 104775 h 104775"/>
                  <a:gd name="connsiteX2" fmla="*/ 209550 w 209550"/>
                  <a:gd name="connsiteY2" fmla="*/ 104775 h 104775"/>
                  <a:gd name="connsiteX3" fmla="*/ 104775 w 209550"/>
                  <a:gd name="connsiteY3" fmla="*/ 0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50" h="104775">
                    <a:moveTo>
                      <a:pt x="104775" y="0"/>
                    </a:moveTo>
                    <a:cubicBezTo>
                      <a:pt x="46672" y="0"/>
                      <a:pt x="0" y="46672"/>
                      <a:pt x="0" y="104775"/>
                    </a:cubicBezTo>
                    <a:lnTo>
                      <a:pt x="209550" y="104775"/>
                    </a:lnTo>
                    <a:cubicBezTo>
                      <a:pt x="209550" y="47625"/>
                      <a:pt x="162877" y="0"/>
                      <a:pt x="10477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 203"/>
              <p:cNvSpPr/>
              <p:nvPr/>
            </p:nvSpPr>
            <p:spPr>
              <a:xfrm>
                <a:off x="7633334" y="2699384"/>
                <a:ext cx="147637" cy="74295"/>
              </a:xfrm>
              <a:custGeom>
                <a:avLst/>
                <a:gdLst>
                  <a:gd name="connsiteX0" fmla="*/ 74295 w 147637"/>
                  <a:gd name="connsiteY0" fmla="*/ 0 h 74295"/>
                  <a:gd name="connsiteX1" fmla="*/ 0 w 147637"/>
                  <a:gd name="connsiteY1" fmla="*/ 74295 h 74295"/>
                  <a:gd name="connsiteX2" fmla="*/ 147638 w 147637"/>
                  <a:gd name="connsiteY2" fmla="*/ 74295 h 74295"/>
                  <a:gd name="connsiteX3" fmla="*/ 74295 w 147637"/>
                  <a:gd name="connsiteY3" fmla="*/ 0 h 74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7637" h="74295">
                    <a:moveTo>
                      <a:pt x="74295" y="0"/>
                    </a:moveTo>
                    <a:cubicBezTo>
                      <a:pt x="33338" y="0"/>
                      <a:pt x="0" y="33338"/>
                      <a:pt x="0" y="74295"/>
                    </a:cubicBezTo>
                    <a:lnTo>
                      <a:pt x="147638" y="74295"/>
                    </a:lnTo>
                    <a:cubicBezTo>
                      <a:pt x="147638" y="32385"/>
                      <a:pt x="115252" y="0"/>
                      <a:pt x="7429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 204"/>
              <p:cNvSpPr/>
              <p:nvPr/>
            </p:nvSpPr>
            <p:spPr>
              <a:xfrm>
                <a:off x="7846694" y="2704147"/>
                <a:ext cx="137160" cy="68580"/>
              </a:xfrm>
              <a:custGeom>
                <a:avLst/>
                <a:gdLst>
                  <a:gd name="connsiteX0" fmla="*/ 68580 w 137160"/>
                  <a:gd name="connsiteY0" fmla="*/ 0 h 68580"/>
                  <a:gd name="connsiteX1" fmla="*/ 0 w 137160"/>
                  <a:gd name="connsiteY1" fmla="*/ 68580 h 68580"/>
                  <a:gd name="connsiteX2" fmla="*/ 137160 w 137160"/>
                  <a:gd name="connsiteY2" fmla="*/ 68580 h 68580"/>
                  <a:gd name="connsiteX3" fmla="*/ 68580 w 137160"/>
                  <a:gd name="connsiteY3" fmla="*/ 0 h 68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160" h="68580">
                    <a:moveTo>
                      <a:pt x="68580" y="0"/>
                    </a:moveTo>
                    <a:cubicBezTo>
                      <a:pt x="30480" y="0"/>
                      <a:pt x="0" y="30480"/>
                      <a:pt x="0" y="68580"/>
                    </a:cubicBezTo>
                    <a:lnTo>
                      <a:pt x="137160" y="68580"/>
                    </a:lnTo>
                    <a:cubicBezTo>
                      <a:pt x="137160" y="30480"/>
                      <a:pt x="105728" y="0"/>
                      <a:pt x="6858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4761389" y="3611879"/>
              <a:ext cx="647700" cy="1093470"/>
              <a:chOff x="4726304" y="1679257"/>
              <a:chExt cx="647700" cy="1093470"/>
            </a:xfrm>
          </p:grpSpPr>
          <p:sp>
            <p:nvSpPr>
              <p:cNvPr id="44" name="任意多边形 207"/>
              <p:cNvSpPr/>
              <p:nvPr/>
            </p:nvSpPr>
            <p:spPr>
              <a:xfrm>
                <a:off x="5007291" y="2360295"/>
                <a:ext cx="85725" cy="412432"/>
              </a:xfrm>
              <a:custGeom>
                <a:avLst/>
                <a:gdLst>
                  <a:gd name="connsiteX0" fmla="*/ 0 w 85725"/>
                  <a:gd name="connsiteY0" fmla="*/ 412433 h 412432"/>
                  <a:gd name="connsiteX1" fmla="*/ 85725 w 85725"/>
                  <a:gd name="connsiteY1" fmla="*/ 412433 h 412432"/>
                  <a:gd name="connsiteX2" fmla="*/ 75248 w 85725"/>
                  <a:gd name="connsiteY2" fmla="*/ 0 h 412432"/>
                  <a:gd name="connsiteX3" fmla="*/ 15240 w 85725"/>
                  <a:gd name="connsiteY3" fmla="*/ 0 h 412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5" h="412432">
                    <a:moveTo>
                      <a:pt x="0" y="412433"/>
                    </a:moveTo>
                    <a:lnTo>
                      <a:pt x="85725" y="412433"/>
                    </a:lnTo>
                    <a:lnTo>
                      <a:pt x="75248" y="0"/>
                    </a:lnTo>
                    <a:lnTo>
                      <a:pt x="1524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 208"/>
              <p:cNvSpPr/>
              <p:nvPr/>
            </p:nvSpPr>
            <p:spPr>
              <a:xfrm>
                <a:off x="5028246" y="2368867"/>
                <a:ext cx="172031" cy="227647"/>
              </a:xfrm>
              <a:custGeom>
                <a:avLst/>
                <a:gdLst>
                  <a:gd name="connsiteX0" fmla="*/ 953 w 172031"/>
                  <a:gd name="connsiteY0" fmla="*/ 180023 h 227647"/>
                  <a:gd name="connsiteX1" fmla="*/ 125730 w 172031"/>
                  <a:gd name="connsiteY1" fmla="*/ 0 h 227647"/>
                  <a:gd name="connsiteX2" fmla="*/ 170497 w 172031"/>
                  <a:gd name="connsiteY2" fmla="*/ 7620 h 227647"/>
                  <a:gd name="connsiteX3" fmla="*/ 0 w 172031"/>
                  <a:gd name="connsiteY3" fmla="*/ 227648 h 227647"/>
                  <a:gd name="connsiteX4" fmla="*/ 953 w 172031"/>
                  <a:gd name="connsiteY4" fmla="*/ 180023 h 227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2031" h="227647">
                    <a:moveTo>
                      <a:pt x="953" y="180023"/>
                    </a:moveTo>
                    <a:cubicBezTo>
                      <a:pt x="953" y="180023"/>
                      <a:pt x="172403" y="161925"/>
                      <a:pt x="125730" y="0"/>
                    </a:cubicBezTo>
                    <a:lnTo>
                      <a:pt x="170497" y="7620"/>
                    </a:lnTo>
                    <a:cubicBezTo>
                      <a:pt x="170497" y="7620"/>
                      <a:pt x="200025" y="164783"/>
                      <a:pt x="0" y="227648"/>
                    </a:cubicBezTo>
                    <a:lnTo>
                      <a:pt x="953" y="180023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 209"/>
              <p:cNvSpPr/>
              <p:nvPr/>
            </p:nvSpPr>
            <p:spPr>
              <a:xfrm>
                <a:off x="4907258" y="2329815"/>
                <a:ext cx="142896" cy="184784"/>
              </a:xfrm>
              <a:custGeom>
                <a:avLst/>
                <a:gdLst>
                  <a:gd name="connsiteX0" fmla="*/ 36216 w 142896"/>
                  <a:gd name="connsiteY0" fmla="*/ 12382 h 184784"/>
                  <a:gd name="connsiteX1" fmla="*/ 142896 w 142896"/>
                  <a:gd name="connsiteY1" fmla="*/ 152400 h 184784"/>
                  <a:gd name="connsiteX2" fmla="*/ 125751 w 142896"/>
                  <a:gd name="connsiteY2" fmla="*/ 184785 h 184784"/>
                  <a:gd name="connsiteX3" fmla="*/ 21 w 142896"/>
                  <a:gd name="connsiteY3" fmla="*/ 0 h 184784"/>
                  <a:gd name="connsiteX4" fmla="*/ 36216 w 142896"/>
                  <a:gd name="connsiteY4" fmla="*/ 12382 h 184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896" h="184784">
                    <a:moveTo>
                      <a:pt x="36216" y="12382"/>
                    </a:moveTo>
                    <a:cubicBezTo>
                      <a:pt x="36216" y="12382"/>
                      <a:pt x="7641" y="148590"/>
                      <a:pt x="142896" y="152400"/>
                    </a:cubicBezTo>
                    <a:lnTo>
                      <a:pt x="125751" y="184785"/>
                    </a:lnTo>
                    <a:cubicBezTo>
                      <a:pt x="125751" y="184785"/>
                      <a:pt x="-1884" y="168592"/>
                      <a:pt x="21" y="0"/>
                    </a:cubicBezTo>
                    <a:lnTo>
                      <a:pt x="36216" y="12382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 210"/>
              <p:cNvSpPr/>
              <p:nvPr/>
            </p:nvSpPr>
            <p:spPr>
              <a:xfrm>
                <a:off x="4726304" y="1679257"/>
                <a:ext cx="647700" cy="770572"/>
              </a:xfrm>
              <a:custGeom>
                <a:avLst/>
                <a:gdLst>
                  <a:gd name="connsiteX0" fmla="*/ 647700 w 647700"/>
                  <a:gd name="connsiteY0" fmla="*/ 425767 h 770572"/>
                  <a:gd name="connsiteX1" fmla="*/ 323850 w 647700"/>
                  <a:gd name="connsiteY1" fmla="*/ 770572 h 770572"/>
                  <a:gd name="connsiteX2" fmla="*/ 0 w 647700"/>
                  <a:gd name="connsiteY2" fmla="*/ 425767 h 770572"/>
                  <a:gd name="connsiteX3" fmla="*/ 323850 w 647700"/>
                  <a:gd name="connsiteY3" fmla="*/ 0 h 770572"/>
                  <a:gd name="connsiteX4" fmla="*/ 647700 w 647700"/>
                  <a:gd name="connsiteY4" fmla="*/ 425767 h 770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7700" h="770572">
                    <a:moveTo>
                      <a:pt x="647700" y="425767"/>
                    </a:moveTo>
                    <a:cubicBezTo>
                      <a:pt x="647700" y="661035"/>
                      <a:pt x="502920" y="770572"/>
                      <a:pt x="323850" y="770572"/>
                    </a:cubicBezTo>
                    <a:cubicBezTo>
                      <a:pt x="144780" y="770572"/>
                      <a:pt x="0" y="661988"/>
                      <a:pt x="0" y="425767"/>
                    </a:cubicBezTo>
                    <a:cubicBezTo>
                      <a:pt x="0" y="190500"/>
                      <a:pt x="144780" y="0"/>
                      <a:pt x="323850" y="0"/>
                    </a:cubicBezTo>
                    <a:cubicBezTo>
                      <a:pt x="502920" y="0"/>
                      <a:pt x="647700" y="190500"/>
                      <a:pt x="647700" y="425767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" name="组合 11"/>
            <p:cNvGrpSpPr/>
            <p:nvPr/>
          </p:nvGrpSpPr>
          <p:grpSpPr>
            <a:xfrm>
              <a:off x="6647339" y="4319587"/>
              <a:ext cx="757237" cy="386715"/>
              <a:chOff x="6612254" y="2386965"/>
              <a:chExt cx="757237" cy="386715"/>
            </a:xfrm>
          </p:grpSpPr>
          <p:sp>
            <p:nvSpPr>
              <p:cNvPr id="40" name="任意多边形 213"/>
              <p:cNvSpPr/>
              <p:nvPr/>
            </p:nvSpPr>
            <p:spPr>
              <a:xfrm>
                <a:off x="6612254" y="2611754"/>
                <a:ext cx="181927" cy="160972"/>
              </a:xfrm>
              <a:custGeom>
                <a:avLst/>
                <a:gdLst>
                  <a:gd name="connsiteX0" fmla="*/ 181927 w 181927"/>
                  <a:gd name="connsiteY0" fmla="*/ 18098 h 160972"/>
                  <a:gd name="connsiteX1" fmla="*/ 178117 w 181927"/>
                  <a:gd name="connsiteY1" fmla="*/ 4763 h 160972"/>
                  <a:gd name="connsiteX2" fmla="*/ 147638 w 181927"/>
                  <a:gd name="connsiteY2" fmla="*/ 0 h 160972"/>
                  <a:gd name="connsiteX3" fmla="*/ 0 w 181927"/>
                  <a:gd name="connsiteY3" fmla="*/ 160973 h 160972"/>
                  <a:gd name="connsiteX4" fmla="*/ 87630 w 181927"/>
                  <a:gd name="connsiteY4" fmla="*/ 160973 h 160972"/>
                  <a:gd name="connsiteX5" fmla="*/ 181927 w 181927"/>
                  <a:gd name="connsiteY5" fmla="*/ 18098 h 160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1927" h="160972">
                    <a:moveTo>
                      <a:pt x="181927" y="18098"/>
                    </a:moveTo>
                    <a:cubicBezTo>
                      <a:pt x="180975" y="14288"/>
                      <a:pt x="179070" y="9525"/>
                      <a:pt x="178117" y="4763"/>
                    </a:cubicBezTo>
                    <a:cubicBezTo>
                      <a:pt x="168592" y="1905"/>
                      <a:pt x="158115" y="0"/>
                      <a:pt x="147638" y="0"/>
                    </a:cubicBezTo>
                    <a:cubicBezTo>
                      <a:pt x="79057" y="0"/>
                      <a:pt x="20002" y="67627"/>
                      <a:pt x="0" y="160973"/>
                    </a:cubicBezTo>
                    <a:lnTo>
                      <a:pt x="87630" y="160973"/>
                    </a:lnTo>
                    <a:cubicBezTo>
                      <a:pt x="112395" y="103823"/>
                      <a:pt x="144780" y="55245"/>
                      <a:pt x="181927" y="180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 214"/>
              <p:cNvSpPr/>
              <p:nvPr/>
            </p:nvSpPr>
            <p:spPr>
              <a:xfrm>
                <a:off x="6781799" y="2386965"/>
                <a:ext cx="313372" cy="340994"/>
              </a:xfrm>
              <a:custGeom>
                <a:avLst/>
                <a:gdLst>
                  <a:gd name="connsiteX0" fmla="*/ 170497 w 313372"/>
                  <a:gd name="connsiteY0" fmla="*/ 262890 h 340994"/>
                  <a:gd name="connsiteX1" fmla="*/ 313372 w 313372"/>
                  <a:gd name="connsiteY1" fmla="*/ 131445 h 340994"/>
                  <a:gd name="connsiteX2" fmla="*/ 166688 w 313372"/>
                  <a:gd name="connsiteY2" fmla="*/ 0 h 340994"/>
                  <a:gd name="connsiteX3" fmla="*/ 0 w 313372"/>
                  <a:gd name="connsiteY3" fmla="*/ 250507 h 340994"/>
                  <a:gd name="connsiteX4" fmla="*/ 9525 w 313372"/>
                  <a:gd name="connsiteY4" fmla="*/ 327660 h 340994"/>
                  <a:gd name="connsiteX5" fmla="*/ 13335 w 313372"/>
                  <a:gd name="connsiteY5" fmla="*/ 340995 h 340994"/>
                  <a:gd name="connsiteX6" fmla="*/ 170497 w 313372"/>
                  <a:gd name="connsiteY6" fmla="*/ 262890 h 340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3372" h="340994">
                    <a:moveTo>
                      <a:pt x="170497" y="262890"/>
                    </a:moveTo>
                    <a:cubicBezTo>
                      <a:pt x="204788" y="195263"/>
                      <a:pt x="255270" y="147638"/>
                      <a:pt x="313372" y="131445"/>
                    </a:cubicBezTo>
                    <a:cubicBezTo>
                      <a:pt x="284797" y="53340"/>
                      <a:pt x="230505" y="0"/>
                      <a:pt x="166688" y="0"/>
                    </a:cubicBezTo>
                    <a:cubicBezTo>
                      <a:pt x="74295" y="0"/>
                      <a:pt x="0" y="112395"/>
                      <a:pt x="0" y="250507"/>
                    </a:cubicBezTo>
                    <a:cubicBezTo>
                      <a:pt x="0" y="279082"/>
                      <a:pt x="2857" y="304800"/>
                      <a:pt x="9525" y="327660"/>
                    </a:cubicBezTo>
                    <a:cubicBezTo>
                      <a:pt x="10478" y="332422"/>
                      <a:pt x="12382" y="336232"/>
                      <a:pt x="13335" y="340995"/>
                    </a:cubicBezTo>
                    <a:cubicBezTo>
                      <a:pt x="58103" y="295275"/>
                      <a:pt x="112395" y="267652"/>
                      <a:pt x="170497" y="262890"/>
                    </a:cubicBezTo>
                    <a:close/>
                  </a:path>
                </a:pathLst>
              </a:custGeom>
              <a:solidFill>
                <a:srgbClr val="3BA24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 215"/>
              <p:cNvSpPr/>
              <p:nvPr/>
            </p:nvSpPr>
            <p:spPr>
              <a:xfrm>
                <a:off x="6952296" y="2413634"/>
                <a:ext cx="417195" cy="359092"/>
              </a:xfrm>
              <a:custGeom>
                <a:avLst/>
                <a:gdLst>
                  <a:gd name="connsiteX0" fmla="*/ 0 w 417195"/>
                  <a:gd name="connsiteY0" fmla="*/ 138113 h 359092"/>
                  <a:gd name="connsiteX1" fmla="*/ 18097 w 417195"/>
                  <a:gd name="connsiteY1" fmla="*/ 137160 h 359092"/>
                  <a:gd name="connsiteX2" fmla="*/ 287655 w 417195"/>
                  <a:gd name="connsiteY2" fmla="*/ 359093 h 359092"/>
                  <a:gd name="connsiteX3" fmla="*/ 417195 w 417195"/>
                  <a:gd name="connsiteY3" fmla="*/ 359093 h 359092"/>
                  <a:gd name="connsiteX4" fmla="*/ 417195 w 417195"/>
                  <a:gd name="connsiteY4" fmla="*/ 350520 h 359092"/>
                  <a:gd name="connsiteX5" fmla="*/ 184785 w 417195"/>
                  <a:gd name="connsiteY5" fmla="*/ 0 h 359092"/>
                  <a:gd name="connsiteX6" fmla="*/ 142875 w 417195"/>
                  <a:gd name="connsiteY6" fmla="*/ 5715 h 359092"/>
                  <a:gd name="connsiteX7" fmla="*/ 0 w 417195"/>
                  <a:gd name="connsiteY7" fmla="*/ 138113 h 359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195" h="359092">
                    <a:moveTo>
                      <a:pt x="0" y="138113"/>
                    </a:moveTo>
                    <a:cubicBezTo>
                      <a:pt x="5715" y="137160"/>
                      <a:pt x="11430" y="137160"/>
                      <a:pt x="18097" y="137160"/>
                    </a:cubicBezTo>
                    <a:cubicBezTo>
                      <a:pt x="131445" y="137160"/>
                      <a:pt x="230505" y="225743"/>
                      <a:pt x="287655" y="359093"/>
                    </a:cubicBezTo>
                    <a:lnTo>
                      <a:pt x="417195" y="359093"/>
                    </a:lnTo>
                    <a:cubicBezTo>
                      <a:pt x="417195" y="356235"/>
                      <a:pt x="417195" y="353378"/>
                      <a:pt x="417195" y="350520"/>
                    </a:cubicBezTo>
                    <a:cubicBezTo>
                      <a:pt x="417195" y="157163"/>
                      <a:pt x="313372" y="0"/>
                      <a:pt x="184785" y="0"/>
                    </a:cubicBezTo>
                    <a:cubicBezTo>
                      <a:pt x="170497" y="0"/>
                      <a:pt x="156210" y="1905"/>
                      <a:pt x="142875" y="5715"/>
                    </a:cubicBezTo>
                    <a:cubicBezTo>
                      <a:pt x="84772" y="22860"/>
                      <a:pt x="34290" y="70485"/>
                      <a:pt x="0" y="138113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 216"/>
              <p:cNvSpPr/>
              <p:nvPr/>
            </p:nvSpPr>
            <p:spPr>
              <a:xfrm>
                <a:off x="6699884" y="2550795"/>
                <a:ext cx="540067" cy="222885"/>
              </a:xfrm>
              <a:custGeom>
                <a:avLst/>
                <a:gdLst>
                  <a:gd name="connsiteX0" fmla="*/ 270510 w 540067"/>
                  <a:gd name="connsiteY0" fmla="*/ 0 h 222885"/>
                  <a:gd name="connsiteX1" fmla="*/ 252413 w 540067"/>
                  <a:gd name="connsiteY1" fmla="*/ 952 h 222885"/>
                  <a:gd name="connsiteX2" fmla="*/ 94297 w 540067"/>
                  <a:gd name="connsiteY2" fmla="*/ 79058 h 222885"/>
                  <a:gd name="connsiteX3" fmla="*/ 0 w 540067"/>
                  <a:gd name="connsiteY3" fmla="*/ 222885 h 222885"/>
                  <a:gd name="connsiteX4" fmla="*/ 540068 w 540067"/>
                  <a:gd name="connsiteY4" fmla="*/ 222885 h 222885"/>
                  <a:gd name="connsiteX5" fmla="*/ 270510 w 540067"/>
                  <a:gd name="connsiteY5" fmla="*/ 0 h 222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0067" h="222885">
                    <a:moveTo>
                      <a:pt x="270510" y="0"/>
                    </a:moveTo>
                    <a:cubicBezTo>
                      <a:pt x="264795" y="0"/>
                      <a:pt x="258128" y="0"/>
                      <a:pt x="252413" y="952"/>
                    </a:cubicBezTo>
                    <a:cubicBezTo>
                      <a:pt x="194310" y="5715"/>
                      <a:pt x="140970" y="34290"/>
                      <a:pt x="94297" y="79058"/>
                    </a:cubicBezTo>
                    <a:cubicBezTo>
                      <a:pt x="56197" y="116205"/>
                      <a:pt x="24765" y="164783"/>
                      <a:pt x="0" y="222885"/>
                    </a:cubicBezTo>
                    <a:lnTo>
                      <a:pt x="540068" y="222885"/>
                    </a:lnTo>
                    <a:cubicBezTo>
                      <a:pt x="482918" y="88583"/>
                      <a:pt x="383858" y="0"/>
                      <a:pt x="27051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8914289" y="4138612"/>
              <a:ext cx="578168" cy="567690"/>
              <a:chOff x="8879204" y="2205990"/>
              <a:chExt cx="578168" cy="567690"/>
            </a:xfrm>
          </p:grpSpPr>
          <p:grpSp>
            <p:nvGrpSpPr>
              <p:cNvPr id="28" name="组合 27"/>
              <p:cNvGrpSpPr/>
              <p:nvPr/>
            </p:nvGrpSpPr>
            <p:grpSpPr>
              <a:xfrm>
                <a:off x="8879204" y="2205990"/>
                <a:ext cx="342900" cy="567690"/>
                <a:chOff x="8879204" y="2205990"/>
                <a:chExt cx="342900" cy="567690"/>
              </a:xfrm>
            </p:grpSpPr>
            <p:sp>
              <p:nvSpPr>
                <p:cNvPr id="34" name="任意多边形 220"/>
                <p:cNvSpPr/>
                <p:nvPr/>
              </p:nvSpPr>
              <p:spPr>
                <a:xfrm>
                  <a:off x="9023984" y="2238375"/>
                  <a:ext cx="60007" cy="535305"/>
                </a:xfrm>
                <a:custGeom>
                  <a:avLst/>
                  <a:gdLst>
                    <a:gd name="connsiteX0" fmla="*/ 60007 w 60007"/>
                    <a:gd name="connsiteY0" fmla="*/ 535305 h 535305"/>
                    <a:gd name="connsiteX1" fmla="*/ 0 w 60007"/>
                    <a:gd name="connsiteY1" fmla="*/ 535305 h 535305"/>
                    <a:gd name="connsiteX2" fmla="*/ 20955 w 60007"/>
                    <a:gd name="connsiteY2" fmla="*/ 0 h 535305"/>
                    <a:gd name="connsiteX3" fmla="*/ 39052 w 60007"/>
                    <a:gd name="connsiteY3" fmla="*/ 0 h 535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007" h="535305">
                      <a:moveTo>
                        <a:pt x="60007" y="535305"/>
                      </a:moveTo>
                      <a:lnTo>
                        <a:pt x="0" y="535305"/>
                      </a:lnTo>
                      <a:lnTo>
                        <a:pt x="20955" y="0"/>
                      </a:lnTo>
                      <a:lnTo>
                        <a:pt x="39052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35" name="组合 34"/>
                <p:cNvGrpSpPr/>
                <p:nvPr/>
              </p:nvGrpSpPr>
              <p:grpSpPr>
                <a:xfrm>
                  <a:off x="8879204" y="2205990"/>
                  <a:ext cx="342900" cy="567690"/>
                  <a:chOff x="8879204" y="2205990"/>
                  <a:chExt cx="342900" cy="567690"/>
                </a:xfrm>
              </p:grpSpPr>
              <p:sp>
                <p:nvSpPr>
                  <p:cNvPr id="36" name="任意多边形 222"/>
                  <p:cNvSpPr/>
                  <p:nvPr/>
                </p:nvSpPr>
                <p:spPr>
                  <a:xfrm>
                    <a:off x="8879204" y="2546984"/>
                    <a:ext cx="342900" cy="226695"/>
                  </a:xfrm>
                  <a:custGeom>
                    <a:avLst/>
                    <a:gdLst>
                      <a:gd name="connsiteX0" fmla="*/ 170497 w 342900"/>
                      <a:gd name="connsiteY0" fmla="*/ 0 h 226695"/>
                      <a:gd name="connsiteX1" fmla="*/ 0 w 342900"/>
                      <a:gd name="connsiteY1" fmla="*/ 226695 h 226695"/>
                      <a:gd name="connsiteX2" fmla="*/ 171450 w 342900"/>
                      <a:gd name="connsiteY2" fmla="*/ 226695 h 226695"/>
                      <a:gd name="connsiteX3" fmla="*/ 342900 w 342900"/>
                      <a:gd name="connsiteY3" fmla="*/ 226695 h 2266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42900" h="226695">
                        <a:moveTo>
                          <a:pt x="170497" y="0"/>
                        </a:moveTo>
                        <a:lnTo>
                          <a:pt x="0" y="226695"/>
                        </a:lnTo>
                        <a:lnTo>
                          <a:pt x="171450" y="226695"/>
                        </a:lnTo>
                        <a:lnTo>
                          <a:pt x="342900" y="226695"/>
                        </a:lnTo>
                        <a:close/>
                      </a:path>
                    </a:pathLst>
                  </a:custGeom>
                  <a:solidFill>
                    <a:srgbClr val="006738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7" name="任意多边形 223"/>
                  <p:cNvSpPr/>
                  <p:nvPr/>
                </p:nvSpPr>
                <p:spPr>
                  <a:xfrm>
                    <a:off x="8893492" y="2415540"/>
                    <a:ext cx="313372" cy="191452"/>
                  </a:xfrm>
                  <a:custGeom>
                    <a:avLst/>
                    <a:gdLst>
                      <a:gd name="connsiteX0" fmla="*/ 155257 w 313372"/>
                      <a:gd name="connsiteY0" fmla="*/ 0 h 191452"/>
                      <a:gd name="connsiteX1" fmla="*/ 0 w 313372"/>
                      <a:gd name="connsiteY1" fmla="*/ 191452 h 191452"/>
                      <a:gd name="connsiteX2" fmla="*/ 156210 w 313372"/>
                      <a:gd name="connsiteY2" fmla="*/ 191452 h 191452"/>
                      <a:gd name="connsiteX3" fmla="*/ 313372 w 313372"/>
                      <a:gd name="connsiteY3" fmla="*/ 191452 h 1914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13372" h="191452">
                        <a:moveTo>
                          <a:pt x="155257" y="0"/>
                        </a:moveTo>
                        <a:lnTo>
                          <a:pt x="0" y="191452"/>
                        </a:lnTo>
                        <a:lnTo>
                          <a:pt x="156210" y="191452"/>
                        </a:lnTo>
                        <a:lnTo>
                          <a:pt x="313372" y="191452"/>
                        </a:lnTo>
                        <a:close/>
                      </a:path>
                    </a:pathLst>
                  </a:custGeom>
                  <a:solidFill>
                    <a:srgbClr val="029344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8" name="任意多边形 224"/>
                  <p:cNvSpPr/>
                  <p:nvPr/>
                </p:nvSpPr>
                <p:spPr>
                  <a:xfrm>
                    <a:off x="8904922" y="2303145"/>
                    <a:ext cx="288607" cy="163829"/>
                  </a:xfrm>
                  <a:custGeom>
                    <a:avLst/>
                    <a:gdLst>
                      <a:gd name="connsiteX0" fmla="*/ 143827 w 288607"/>
                      <a:gd name="connsiteY0" fmla="*/ 0 h 163829"/>
                      <a:gd name="connsiteX1" fmla="*/ 0 w 288607"/>
                      <a:gd name="connsiteY1" fmla="*/ 163830 h 163829"/>
                      <a:gd name="connsiteX2" fmla="*/ 144780 w 288607"/>
                      <a:gd name="connsiteY2" fmla="*/ 163830 h 163829"/>
                      <a:gd name="connsiteX3" fmla="*/ 288607 w 288607"/>
                      <a:gd name="connsiteY3" fmla="*/ 163830 h 1638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88607" h="163829">
                        <a:moveTo>
                          <a:pt x="143827" y="0"/>
                        </a:moveTo>
                        <a:lnTo>
                          <a:pt x="0" y="163830"/>
                        </a:lnTo>
                        <a:lnTo>
                          <a:pt x="144780" y="163830"/>
                        </a:lnTo>
                        <a:lnTo>
                          <a:pt x="288607" y="163830"/>
                        </a:lnTo>
                        <a:close/>
                      </a:path>
                    </a:pathLst>
                  </a:custGeom>
                  <a:solidFill>
                    <a:srgbClr val="6EB13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9" name="任意多边形 225"/>
                  <p:cNvSpPr/>
                  <p:nvPr/>
                </p:nvSpPr>
                <p:spPr>
                  <a:xfrm>
                    <a:off x="8915399" y="2205990"/>
                    <a:ext cx="266700" cy="140969"/>
                  </a:xfrm>
                  <a:custGeom>
                    <a:avLst/>
                    <a:gdLst>
                      <a:gd name="connsiteX0" fmla="*/ 132398 w 266700"/>
                      <a:gd name="connsiteY0" fmla="*/ 0 h 140969"/>
                      <a:gd name="connsiteX1" fmla="*/ 0 w 266700"/>
                      <a:gd name="connsiteY1" fmla="*/ 140970 h 140969"/>
                      <a:gd name="connsiteX2" fmla="*/ 133350 w 266700"/>
                      <a:gd name="connsiteY2" fmla="*/ 140970 h 140969"/>
                      <a:gd name="connsiteX3" fmla="*/ 266700 w 266700"/>
                      <a:gd name="connsiteY3" fmla="*/ 140970 h 1409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66700" h="140969">
                        <a:moveTo>
                          <a:pt x="132398" y="0"/>
                        </a:moveTo>
                        <a:lnTo>
                          <a:pt x="0" y="140970"/>
                        </a:lnTo>
                        <a:lnTo>
                          <a:pt x="133350" y="140970"/>
                        </a:lnTo>
                        <a:lnTo>
                          <a:pt x="266700" y="140970"/>
                        </a:lnTo>
                        <a:close/>
                      </a:path>
                    </a:pathLst>
                  </a:custGeom>
                  <a:solidFill>
                    <a:srgbClr val="92C33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29" name="组合 28"/>
              <p:cNvGrpSpPr/>
              <p:nvPr/>
            </p:nvGrpSpPr>
            <p:grpSpPr>
              <a:xfrm>
                <a:off x="9019222" y="2615565"/>
                <a:ext cx="438150" cy="158115"/>
                <a:chOff x="9019222" y="2615565"/>
                <a:chExt cx="438150" cy="158115"/>
              </a:xfrm>
            </p:grpSpPr>
            <p:sp>
              <p:nvSpPr>
                <p:cNvPr id="30" name="任意多边形 228"/>
                <p:cNvSpPr/>
                <p:nvPr/>
              </p:nvSpPr>
              <p:spPr>
                <a:xfrm>
                  <a:off x="9088754" y="2615565"/>
                  <a:ext cx="317182" cy="158115"/>
                </a:xfrm>
                <a:custGeom>
                  <a:avLst/>
                  <a:gdLst>
                    <a:gd name="connsiteX0" fmla="*/ 158115 w 317182"/>
                    <a:gd name="connsiteY0" fmla="*/ 0 h 158115"/>
                    <a:gd name="connsiteX1" fmla="*/ 0 w 317182"/>
                    <a:gd name="connsiteY1" fmla="*/ 158115 h 158115"/>
                    <a:gd name="connsiteX2" fmla="*/ 317182 w 317182"/>
                    <a:gd name="connsiteY2" fmla="*/ 158115 h 158115"/>
                    <a:gd name="connsiteX3" fmla="*/ 158115 w 317182"/>
                    <a:gd name="connsiteY3" fmla="*/ 0 h 1581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7182" h="158115">
                      <a:moveTo>
                        <a:pt x="158115" y="0"/>
                      </a:moveTo>
                      <a:cubicBezTo>
                        <a:pt x="70485" y="0"/>
                        <a:pt x="0" y="70485"/>
                        <a:pt x="0" y="158115"/>
                      </a:cubicBezTo>
                      <a:lnTo>
                        <a:pt x="317182" y="158115"/>
                      </a:lnTo>
                      <a:cubicBezTo>
                        <a:pt x="317182" y="70485"/>
                        <a:pt x="245745" y="0"/>
                        <a:pt x="158115" y="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1" name="任意多边形 229"/>
                <p:cNvSpPr/>
                <p:nvPr/>
              </p:nvSpPr>
              <p:spPr>
                <a:xfrm>
                  <a:off x="9019222" y="2677477"/>
                  <a:ext cx="190500" cy="95250"/>
                </a:xfrm>
                <a:custGeom>
                  <a:avLst/>
                  <a:gdLst>
                    <a:gd name="connsiteX0" fmla="*/ 95250 w 190500"/>
                    <a:gd name="connsiteY0" fmla="*/ 0 h 95250"/>
                    <a:gd name="connsiteX1" fmla="*/ 0 w 190500"/>
                    <a:gd name="connsiteY1" fmla="*/ 95250 h 95250"/>
                    <a:gd name="connsiteX2" fmla="*/ 190500 w 190500"/>
                    <a:gd name="connsiteY2" fmla="*/ 95250 h 95250"/>
                    <a:gd name="connsiteX3" fmla="*/ 95250 w 190500"/>
                    <a:gd name="connsiteY3" fmla="*/ 0 h 95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0500" h="95250">
                      <a:moveTo>
                        <a:pt x="95250" y="0"/>
                      </a:moveTo>
                      <a:cubicBezTo>
                        <a:pt x="42863" y="0"/>
                        <a:pt x="0" y="42863"/>
                        <a:pt x="0" y="95250"/>
                      </a:cubicBezTo>
                      <a:lnTo>
                        <a:pt x="190500" y="95250"/>
                      </a:lnTo>
                      <a:cubicBezTo>
                        <a:pt x="190500" y="42863"/>
                        <a:pt x="148590" y="0"/>
                        <a:pt x="95250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2" name="任意多边形 230"/>
                <p:cNvSpPr/>
                <p:nvPr/>
              </p:nvSpPr>
              <p:spPr>
                <a:xfrm>
                  <a:off x="9139237" y="2706052"/>
                  <a:ext cx="134324" cy="67627"/>
                </a:xfrm>
                <a:custGeom>
                  <a:avLst/>
                  <a:gdLst>
                    <a:gd name="connsiteX0" fmla="*/ 67627 w 134324"/>
                    <a:gd name="connsiteY0" fmla="*/ 0 h 67627"/>
                    <a:gd name="connsiteX1" fmla="*/ 0 w 134324"/>
                    <a:gd name="connsiteY1" fmla="*/ 67628 h 67627"/>
                    <a:gd name="connsiteX2" fmla="*/ 134302 w 134324"/>
                    <a:gd name="connsiteY2" fmla="*/ 67628 h 67627"/>
                    <a:gd name="connsiteX3" fmla="*/ 67627 w 134324"/>
                    <a:gd name="connsiteY3" fmla="*/ 0 h 67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4324" h="67627">
                      <a:moveTo>
                        <a:pt x="67627" y="0"/>
                      </a:moveTo>
                      <a:cubicBezTo>
                        <a:pt x="30480" y="0"/>
                        <a:pt x="0" y="30480"/>
                        <a:pt x="0" y="67628"/>
                      </a:cubicBezTo>
                      <a:lnTo>
                        <a:pt x="134302" y="67628"/>
                      </a:lnTo>
                      <a:cubicBezTo>
                        <a:pt x="135255" y="30480"/>
                        <a:pt x="104775" y="0"/>
                        <a:pt x="67627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3" name="任意多边形 231"/>
                <p:cNvSpPr/>
                <p:nvPr/>
              </p:nvSpPr>
              <p:spPr>
                <a:xfrm>
                  <a:off x="9332594" y="2710815"/>
                  <a:ext cx="124777" cy="62865"/>
                </a:xfrm>
                <a:custGeom>
                  <a:avLst/>
                  <a:gdLst>
                    <a:gd name="connsiteX0" fmla="*/ 62865 w 124777"/>
                    <a:gd name="connsiteY0" fmla="*/ 0 h 62865"/>
                    <a:gd name="connsiteX1" fmla="*/ 0 w 124777"/>
                    <a:gd name="connsiteY1" fmla="*/ 62865 h 62865"/>
                    <a:gd name="connsiteX2" fmla="*/ 124778 w 124777"/>
                    <a:gd name="connsiteY2" fmla="*/ 62865 h 62865"/>
                    <a:gd name="connsiteX3" fmla="*/ 62865 w 124777"/>
                    <a:gd name="connsiteY3" fmla="*/ 0 h 62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4777" h="62865">
                      <a:moveTo>
                        <a:pt x="62865" y="0"/>
                      </a:moveTo>
                      <a:cubicBezTo>
                        <a:pt x="28575" y="0"/>
                        <a:pt x="0" y="27622"/>
                        <a:pt x="0" y="62865"/>
                      </a:cubicBezTo>
                      <a:lnTo>
                        <a:pt x="124778" y="62865"/>
                      </a:lnTo>
                      <a:cubicBezTo>
                        <a:pt x="124778" y="27622"/>
                        <a:pt x="97155" y="0"/>
                        <a:pt x="62865" y="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4" name="组合 13"/>
            <p:cNvGrpSpPr/>
            <p:nvPr/>
          </p:nvGrpSpPr>
          <p:grpSpPr>
            <a:xfrm>
              <a:off x="2772569" y="4065269"/>
              <a:ext cx="704850" cy="641032"/>
              <a:chOff x="2737484" y="2132647"/>
              <a:chExt cx="704850" cy="641032"/>
            </a:xfrm>
          </p:grpSpPr>
          <p:sp>
            <p:nvSpPr>
              <p:cNvPr id="15" name="任意多边形 233"/>
              <p:cNvSpPr/>
              <p:nvPr/>
            </p:nvSpPr>
            <p:spPr>
              <a:xfrm>
                <a:off x="2987992" y="2646045"/>
                <a:ext cx="340058" cy="127635"/>
              </a:xfrm>
              <a:custGeom>
                <a:avLst/>
                <a:gdLst>
                  <a:gd name="connsiteX0" fmla="*/ 250508 w 340058"/>
                  <a:gd name="connsiteY0" fmla="*/ 37148 h 127635"/>
                  <a:gd name="connsiteX1" fmla="*/ 221933 w 340058"/>
                  <a:gd name="connsiteY1" fmla="*/ 41910 h 127635"/>
                  <a:gd name="connsiteX2" fmla="*/ 127635 w 340058"/>
                  <a:gd name="connsiteY2" fmla="*/ 0 h 127635"/>
                  <a:gd name="connsiteX3" fmla="*/ 0 w 340058"/>
                  <a:gd name="connsiteY3" fmla="*/ 127635 h 127635"/>
                  <a:gd name="connsiteX4" fmla="*/ 160020 w 340058"/>
                  <a:gd name="connsiteY4" fmla="*/ 127635 h 127635"/>
                  <a:gd name="connsiteX5" fmla="*/ 254318 w 340058"/>
                  <a:gd name="connsiteY5" fmla="*/ 127635 h 127635"/>
                  <a:gd name="connsiteX6" fmla="*/ 340043 w 340058"/>
                  <a:gd name="connsiteY6" fmla="*/ 127635 h 127635"/>
                  <a:gd name="connsiteX7" fmla="*/ 250508 w 340058"/>
                  <a:gd name="connsiteY7" fmla="*/ 37148 h 127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0058" h="127635">
                    <a:moveTo>
                      <a:pt x="250508" y="37148"/>
                    </a:moveTo>
                    <a:cubicBezTo>
                      <a:pt x="240030" y="37148"/>
                      <a:pt x="230505" y="39052"/>
                      <a:pt x="221933" y="41910"/>
                    </a:cubicBezTo>
                    <a:cubicBezTo>
                      <a:pt x="198120" y="16192"/>
                      <a:pt x="164783" y="0"/>
                      <a:pt x="127635" y="0"/>
                    </a:cubicBezTo>
                    <a:cubicBezTo>
                      <a:pt x="57150" y="0"/>
                      <a:pt x="0" y="57150"/>
                      <a:pt x="0" y="127635"/>
                    </a:cubicBezTo>
                    <a:lnTo>
                      <a:pt x="160020" y="127635"/>
                    </a:lnTo>
                    <a:lnTo>
                      <a:pt x="254318" y="127635"/>
                    </a:lnTo>
                    <a:lnTo>
                      <a:pt x="340043" y="127635"/>
                    </a:lnTo>
                    <a:cubicBezTo>
                      <a:pt x="340995" y="77152"/>
                      <a:pt x="300038" y="37148"/>
                      <a:pt x="250508" y="37148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6" name="组合 15"/>
              <p:cNvGrpSpPr/>
              <p:nvPr/>
            </p:nvGrpSpPr>
            <p:grpSpPr>
              <a:xfrm>
                <a:off x="2737484" y="2132647"/>
                <a:ext cx="704850" cy="640080"/>
                <a:chOff x="2737484" y="2132647"/>
                <a:chExt cx="704850" cy="640080"/>
              </a:xfrm>
            </p:grpSpPr>
            <p:sp>
              <p:nvSpPr>
                <p:cNvPr id="18" name="任意多边形 235"/>
                <p:cNvSpPr/>
                <p:nvPr/>
              </p:nvSpPr>
              <p:spPr>
                <a:xfrm>
                  <a:off x="3063239" y="2425065"/>
                  <a:ext cx="49530" cy="347662"/>
                </a:xfrm>
                <a:custGeom>
                  <a:avLst/>
                  <a:gdLst>
                    <a:gd name="connsiteX0" fmla="*/ 0 w 49530"/>
                    <a:gd name="connsiteY0" fmla="*/ 347663 h 347662"/>
                    <a:gd name="connsiteX1" fmla="*/ 49530 w 49530"/>
                    <a:gd name="connsiteY1" fmla="*/ 347663 h 347662"/>
                    <a:gd name="connsiteX2" fmla="*/ 43815 w 49530"/>
                    <a:gd name="connsiteY2" fmla="*/ 0 h 347662"/>
                    <a:gd name="connsiteX3" fmla="*/ 8573 w 49530"/>
                    <a:gd name="connsiteY3" fmla="*/ 0 h 347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9530" h="347662">
                      <a:moveTo>
                        <a:pt x="0" y="347663"/>
                      </a:moveTo>
                      <a:lnTo>
                        <a:pt x="49530" y="347663"/>
                      </a:lnTo>
                      <a:lnTo>
                        <a:pt x="43815" y="0"/>
                      </a:lnTo>
                      <a:lnTo>
                        <a:pt x="8573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" name="任意多边形 236"/>
                <p:cNvSpPr/>
                <p:nvPr/>
              </p:nvSpPr>
              <p:spPr>
                <a:xfrm>
                  <a:off x="3097529" y="2373629"/>
                  <a:ext cx="150866" cy="200025"/>
                </a:xfrm>
                <a:custGeom>
                  <a:avLst/>
                  <a:gdLst>
                    <a:gd name="connsiteX0" fmla="*/ 952 w 150866"/>
                    <a:gd name="connsiteY0" fmla="*/ 158115 h 200025"/>
                    <a:gd name="connsiteX1" fmla="*/ 110490 w 150866"/>
                    <a:gd name="connsiteY1" fmla="*/ 0 h 200025"/>
                    <a:gd name="connsiteX2" fmla="*/ 149543 w 150866"/>
                    <a:gd name="connsiteY2" fmla="*/ 6667 h 200025"/>
                    <a:gd name="connsiteX3" fmla="*/ 0 w 150866"/>
                    <a:gd name="connsiteY3" fmla="*/ 200025 h 200025"/>
                    <a:gd name="connsiteX4" fmla="*/ 952 w 150866"/>
                    <a:gd name="connsiteY4" fmla="*/ 158115 h 200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66" h="200025">
                      <a:moveTo>
                        <a:pt x="952" y="158115"/>
                      </a:moveTo>
                      <a:cubicBezTo>
                        <a:pt x="952" y="158115"/>
                        <a:pt x="152400" y="141923"/>
                        <a:pt x="110490" y="0"/>
                      </a:cubicBezTo>
                      <a:lnTo>
                        <a:pt x="149543" y="6667"/>
                      </a:lnTo>
                      <a:cubicBezTo>
                        <a:pt x="149543" y="6667"/>
                        <a:pt x="175260" y="144780"/>
                        <a:pt x="0" y="200025"/>
                      </a:cubicBezTo>
                      <a:lnTo>
                        <a:pt x="952" y="158115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" name="任意多边形 237"/>
                <p:cNvSpPr/>
                <p:nvPr/>
              </p:nvSpPr>
              <p:spPr>
                <a:xfrm>
                  <a:off x="2968935" y="2326957"/>
                  <a:ext cx="120973" cy="156209"/>
                </a:xfrm>
                <a:custGeom>
                  <a:avLst/>
                  <a:gdLst>
                    <a:gd name="connsiteX0" fmla="*/ 30486 w 120973"/>
                    <a:gd name="connsiteY0" fmla="*/ 10477 h 156209"/>
                    <a:gd name="connsiteX1" fmla="*/ 120974 w 120973"/>
                    <a:gd name="connsiteY1" fmla="*/ 128588 h 156209"/>
                    <a:gd name="connsiteX2" fmla="*/ 106686 w 120973"/>
                    <a:gd name="connsiteY2" fmla="*/ 156210 h 156209"/>
                    <a:gd name="connsiteX3" fmla="*/ 6 w 120973"/>
                    <a:gd name="connsiteY3" fmla="*/ 0 h 156209"/>
                    <a:gd name="connsiteX4" fmla="*/ 30486 w 120973"/>
                    <a:gd name="connsiteY4" fmla="*/ 10477 h 156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0973" h="156209">
                      <a:moveTo>
                        <a:pt x="30486" y="10477"/>
                      </a:moveTo>
                      <a:cubicBezTo>
                        <a:pt x="30486" y="10477"/>
                        <a:pt x="5721" y="125730"/>
                        <a:pt x="120974" y="128588"/>
                      </a:cubicBezTo>
                      <a:lnTo>
                        <a:pt x="106686" y="156210"/>
                      </a:lnTo>
                      <a:cubicBezTo>
                        <a:pt x="106686" y="156210"/>
                        <a:pt x="-946" y="141922"/>
                        <a:pt x="6" y="0"/>
                      </a:cubicBezTo>
                      <a:lnTo>
                        <a:pt x="30486" y="10477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" name="任意多边形 238"/>
                <p:cNvSpPr/>
                <p:nvPr/>
              </p:nvSpPr>
              <p:spPr>
                <a:xfrm>
                  <a:off x="2832734" y="2346959"/>
                  <a:ext cx="167640" cy="97818"/>
                </a:xfrm>
                <a:custGeom>
                  <a:avLst/>
                  <a:gdLst>
                    <a:gd name="connsiteX0" fmla="*/ 32385 w 167640"/>
                    <a:gd name="connsiteY0" fmla="*/ 0 h 97818"/>
                    <a:gd name="connsiteX1" fmla="*/ 167640 w 167640"/>
                    <a:gd name="connsiteY1" fmla="*/ 61913 h 97818"/>
                    <a:gd name="connsiteX2" fmla="*/ 167640 w 167640"/>
                    <a:gd name="connsiteY2" fmla="*/ 92393 h 97818"/>
                    <a:gd name="connsiteX3" fmla="*/ 0 w 167640"/>
                    <a:gd name="connsiteY3" fmla="*/ 4763 h 97818"/>
                    <a:gd name="connsiteX4" fmla="*/ 32385 w 167640"/>
                    <a:gd name="connsiteY4" fmla="*/ 0 h 97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97818">
                      <a:moveTo>
                        <a:pt x="32385" y="0"/>
                      </a:moveTo>
                      <a:cubicBezTo>
                        <a:pt x="32385" y="0"/>
                        <a:pt x="64770" y="112395"/>
                        <a:pt x="167640" y="61913"/>
                      </a:cubicBezTo>
                      <a:lnTo>
                        <a:pt x="167640" y="92393"/>
                      </a:lnTo>
                      <a:cubicBezTo>
                        <a:pt x="167640" y="92393"/>
                        <a:pt x="65723" y="130493"/>
                        <a:pt x="0" y="4763"/>
                      </a:cubicBezTo>
                      <a:lnTo>
                        <a:pt x="32385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" name="任意多边形 239"/>
                <p:cNvSpPr/>
                <p:nvPr/>
              </p:nvSpPr>
              <p:spPr>
                <a:xfrm>
                  <a:off x="3191826" y="2437447"/>
                  <a:ext cx="179070" cy="91847"/>
                </a:xfrm>
                <a:custGeom>
                  <a:avLst/>
                  <a:gdLst>
                    <a:gd name="connsiteX0" fmla="*/ 18098 w 179070"/>
                    <a:gd name="connsiteY0" fmla="*/ 56198 h 91847"/>
                    <a:gd name="connsiteX1" fmla="*/ 156210 w 179070"/>
                    <a:gd name="connsiteY1" fmla="*/ 0 h 91847"/>
                    <a:gd name="connsiteX2" fmla="*/ 179070 w 179070"/>
                    <a:gd name="connsiteY2" fmla="*/ 20955 h 91847"/>
                    <a:gd name="connsiteX3" fmla="*/ 0 w 179070"/>
                    <a:gd name="connsiteY3" fmla="*/ 82868 h 91847"/>
                    <a:gd name="connsiteX4" fmla="*/ 18098 w 179070"/>
                    <a:gd name="connsiteY4" fmla="*/ 56198 h 91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9070" h="91847">
                      <a:moveTo>
                        <a:pt x="18098" y="56198"/>
                      </a:moveTo>
                      <a:cubicBezTo>
                        <a:pt x="18098" y="56198"/>
                        <a:pt x="122873" y="109538"/>
                        <a:pt x="156210" y="0"/>
                      </a:cubicBezTo>
                      <a:lnTo>
                        <a:pt x="179070" y="20955"/>
                      </a:lnTo>
                      <a:cubicBezTo>
                        <a:pt x="179070" y="20955"/>
                        <a:pt x="137160" y="121920"/>
                        <a:pt x="0" y="82868"/>
                      </a:cubicBezTo>
                      <a:lnTo>
                        <a:pt x="18098" y="56198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" name="任意多边形 240"/>
                <p:cNvSpPr/>
                <p:nvPr/>
              </p:nvSpPr>
              <p:spPr>
                <a:xfrm>
                  <a:off x="2895599" y="2154554"/>
                  <a:ext cx="180975" cy="215265"/>
                </a:xfrm>
                <a:custGeom>
                  <a:avLst/>
                  <a:gdLst>
                    <a:gd name="connsiteX0" fmla="*/ 180975 w 180975"/>
                    <a:gd name="connsiteY0" fmla="*/ 119063 h 215265"/>
                    <a:gd name="connsiteX1" fmla="*/ 90488 w 180975"/>
                    <a:gd name="connsiteY1" fmla="*/ 215265 h 215265"/>
                    <a:gd name="connsiteX2" fmla="*/ 0 w 180975"/>
                    <a:gd name="connsiteY2" fmla="*/ 119063 h 215265"/>
                    <a:gd name="connsiteX3" fmla="*/ 90488 w 180975"/>
                    <a:gd name="connsiteY3" fmla="*/ 0 h 215265"/>
                    <a:gd name="connsiteX4" fmla="*/ 180975 w 180975"/>
                    <a:gd name="connsiteY4" fmla="*/ 119063 h 215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975" h="215265">
                      <a:moveTo>
                        <a:pt x="180975" y="119063"/>
                      </a:moveTo>
                      <a:cubicBezTo>
                        <a:pt x="180975" y="184785"/>
                        <a:pt x="140970" y="215265"/>
                        <a:pt x="90488" y="215265"/>
                      </a:cubicBezTo>
                      <a:cubicBezTo>
                        <a:pt x="40957" y="215265"/>
                        <a:pt x="0" y="184785"/>
                        <a:pt x="0" y="119063"/>
                      </a:cubicBezTo>
                      <a:cubicBezTo>
                        <a:pt x="0" y="53340"/>
                        <a:pt x="40005" y="0"/>
                        <a:pt x="90488" y="0"/>
                      </a:cubicBezTo>
                      <a:cubicBezTo>
                        <a:pt x="140018" y="0"/>
                        <a:pt x="180975" y="53340"/>
                        <a:pt x="180975" y="11906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" name="任意多边形 241"/>
                <p:cNvSpPr/>
                <p:nvPr/>
              </p:nvSpPr>
              <p:spPr>
                <a:xfrm>
                  <a:off x="2737484" y="2132647"/>
                  <a:ext cx="217170" cy="259080"/>
                </a:xfrm>
                <a:custGeom>
                  <a:avLst/>
                  <a:gdLst>
                    <a:gd name="connsiteX0" fmla="*/ 217170 w 217170"/>
                    <a:gd name="connsiteY0" fmla="*/ 142875 h 259080"/>
                    <a:gd name="connsiteX1" fmla="*/ 108585 w 217170"/>
                    <a:gd name="connsiteY1" fmla="*/ 259080 h 259080"/>
                    <a:gd name="connsiteX2" fmla="*/ 0 w 217170"/>
                    <a:gd name="connsiteY2" fmla="*/ 142875 h 259080"/>
                    <a:gd name="connsiteX3" fmla="*/ 108585 w 217170"/>
                    <a:gd name="connsiteY3" fmla="*/ 0 h 259080"/>
                    <a:gd name="connsiteX4" fmla="*/ 217170 w 217170"/>
                    <a:gd name="connsiteY4" fmla="*/ 142875 h 259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70" h="259080">
                      <a:moveTo>
                        <a:pt x="217170" y="142875"/>
                      </a:moveTo>
                      <a:cubicBezTo>
                        <a:pt x="217170" y="221933"/>
                        <a:pt x="168593" y="259080"/>
                        <a:pt x="108585" y="259080"/>
                      </a:cubicBezTo>
                      <a:cubicBezTo>
                        <a:pt x="48578" y="259080"/>
                        <a:pt x="0" y="222885"/>
                        <a:pt x="0" y="142875"/>
                      </a:cubicBezTo>
                      <a:cubicBezTo>
                        <a:pt x="0" y="63818"/>
                        <a:pt x="48578" y="0"/>
                        <a:pt x="108585" y="0"/>
                      </a:cubicBezTo>
                      <a:cubicBezTo>
                        <a:pt x="168593" y="0"/>
                        <a:pt x="217170" y="63818"/>
                        <a:pt x="217170" y="142875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5" name="任意多边形 242"/>
                <p:cNvSpPr/>
                <p:nvPr/>
              </p:nvSpPr>
              <p:spPr>
                <a:xfrm>
                  <a:off x="3108959" y="2200275"/>
                  <a:ext cx="217169" cy="218122"/>
                </a:xfrm>
                <a:custGeom>
                  <a:avLst/>
                  <a:gdLst>
                    <a:gd name="connsiteX0" fmla="*/ 217170 w 217169"/>
                    <a:gd name="connsiteY0" fmla="*/ 120967 h 218122"/>
                    <a:gd name="connsiteX1" fmla="*/ 108585 w 217169"/>
                    <a:gd name="connsiteY1" fmla="*/ 218122 h 218122"/>
                    <a:gd name="connsiteX2" fmla="*/ 0 w 217169"/>
                    <a:gd name="connsiteY2" fmla="*/ 120967 h 218122"/>
                    <a:gd name="connsiteX3" fmla="*/ 108585 w 217169"/>
                    <a:gd name="connsiteY3" fmla="*/ 0 h 218122"/>
                    <a:gd name="connsiteX4" fmla="*/ 217170 w 217169"/>
                    <a:gd name="connsiteY4" fmla="*/ 120967 h 218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69" h="218122">
                      <a:moveTo>
                        <a:pt x="217170" y="120967"/>
                      </a:moveTo>
                      <a:cubicBezTo>
                        <a:pt x="217170" y="187642"/>
                        <a:pt x="168592" y="218122"/>
                        <a:pt x="108585" y="218122"/>
                      </a:cubicBezTo>
                      <a:cubicBezTo>
                        <a:pt x="48577" y="218122"/>
                        <a:pt x="0" y="187642"/>
                        <a:pt x="0" y="120967"/>
                      </a:cubicBezTo>
                      <a:cubicBezTo>
                        <a:pt x="0" y="54292"/>
                        <a:pt x="48577" y="0"/>
                        <a:pt x="108585" y="0"/>
                      </a:cubicBezTo>
                      <a:cubicBezTo>
                        <a:pt x="168592" y="0"/>
                        <a:pt x="217170" y="54292"/>
                        <a:pt x="217170" y="120967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6" name="任意多边形 243"/>
                <p:cNvSpPr/>
                <p:nvPr/>
              </p:nvSpPr>
              <p:spPr>
                <a:xfrm>
                  <a:off x="3016567" y="2297429"/>
                  <a:ext cx="142875" cy="144779"/>
                </a:xfrm>
                <a:custGeom>
                  <a:avLst/>
                  <a:gdLst>
                    <a:gd name="connsiteX0" fmla="*/ 142875 w 142875"/>
                    <a:gd name="connsiteY0" fmla="*/ 80010 h 144779"/>
                    <a:gd name="connsiteX1" fmla="*/ 71438 w 142875"/>
                    <a:gd name="connsiteY1" fmla="*/ 144780 h 144779"/>
                    <a:gd name="connsiteX2" fmla="*/ 0 w 142875"/>
                    <a:gd name="connsiteY2" fmla="*/ 80010 h 144779"/>
                    <a:gd name="connsiteX3" fmla="*/ 71438 w 142875"/>
                    <a:gd name="connsiteY3" fmla="*/ 0 h 144779"/>
                    <a:gd name="connsiteX4" fmla="*/ 142875 w 142875"/>
                    <a:gd name="connsiteY4" fmla="*/ 80010 h 144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875" h="144779">
                      <a:moveTo>
                        <a:pt x="142875" y="80010"/>
                      </a:moveTo>
                      <a:cubicBezTo>
                        <a:pt x="142875" y="123825"/>
                        <a:pt x="110490" y="144780"/>
                        <a:pt x="71438" y="144780"/>
                      </a:cubicBezTo>
                      <a:cubicBezTo>
                        <a:pt x="31432" y="144780"/>
                        <a:pt x="0" y="124778"/>
                        <a:pt x="0" y="80010"/>
                      </a:cubicBezTo>
                      <a:cubicBezTo>
                        <a:pt x="0" y="36195"/>
                        <a:pt x="32385" y="0"/>
                        <a:pt x="71438" y="0"/>
                      </a:cubicBezTo>
                      <a:cubicBezTo>
                        <a:pt x="110490" y="0"/>
                        <a:pt x="142875" y="36195"/>
                        <a:pt x="142875" y="8001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7" name="任意多边形 244"/>
                <p:cNvSpPr/>
                <p:nvPr/>
              </p:nvSpPr>
              <p:spPr>
                <a:xfrm>
                  <a:off x="3274694" y="2323147"/>
                  <a:ext cx="167640" cy="167640"/>
                </a:xfrm>
                <a:custGeom>
                  <a:avLst/>
                  <a:gdLst>
                    <a:gd name="connsiteX0" fmla="*/ 167640 w 167640"/>
                    <a:gd name="connsiteY0" fmla="*/ 92393 h 167640"/>
                    <a:gd name="connsiteX1" fmla="*/ 83820 w 167640"/>
                    <a:gd name="connsiteY1" fmla="*/ 167640 h 167640"/>
                    <a:gd name="connsiteX2" fmla="*/ 0 w 167640"/>
                    <a:gd name="connsiteY2" fmla="*/ 92393 h 167640"/>
                    <a:gd name="connsiteX3" fmla="*/ 83820 w 167640"/>
                    <a:gd name="connsiteY3" fmla="*/ 0 h 167640"/>
                    <a:gd name="connsiteX4" fmla="*/ 167640 w 167640"/>
                    <a:gd name="connsiteY4" fmla="*/ 92393 h 1676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167640">
                      <a:moveTo>
                        <a:pt x="167640" y="92393"/>
                      </a:moveTo>
                      <a:cubicBezTo>
                        <a:pt x="167640" y="143828"/>
                        <a:pt x="130493" y="167640"/>
                        <a:pt x="83820" y="167640"/>
                      </a:cubicBezTo>
                      <a:cubicBezTo>
                        <a:pt x="38100" y="167640"/>
                        <a:pt x="0" y="143828"/>
                        <a:pt x="0" y="92393"/>
                      </a:cubicBezTo>
                      <a:cubicBezTo>
                        <a:pt x="0" y="40958"/>
                        <a:pt x="37148" y="0"/>
                        <a:pt x="83820" y="0"/>
                      </a:cubicBezTo>
                      <a:cubicBezTo>
                        <a:pt x="129540" y="0"/>
                        <a:pt x="167640" y="40958"/>
                        <a:pt x="167640" y="9239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7" name="任意多边形 245"/>
              <p:cNvSpPr/>
              <p:nvPr/>
            </p:nvSpPr>
            <p:spPr>
              <a:xfrm>
                <a:off x="2830829" y="2681287"/>
                <a:ext cx="247650" cy="92392"/>
              </a:xfrm>
              <a:custGeom>
                <a:avLst/>
                <a:gdLst>
                  <a:gd name="connsiteX0" fmla="*/ 65723 w 247650"/>
                  <a:gd name="connsiteY0" fmla="*/ 26670 h 92392"/>
                  <a:gd name="connsiteX1" fmla="*/ 86677 w 247650"/>
                  <a:gd name="connsiteY1" fmla="*/ 30480 h 92392"/>
                  <a:gd name="connsiteX2" fmla="*/ 155258 w 247650"/>
                  <a:gd name="connsiteY2" fmla="*/ 0 h 92392"/>
                  <a:gd name="connsiteX3" fmla="*/ 247650 w 247650"/>
                  <a:gd name="connsiteY3" fmla="*/ 92393 h 92392"/>
                  <a:gd name="connsiteX4" fmla="*/ 130493 w 247650"/>
                  <a:gd name="connsiteY4" fmla="*/ 92393 h 92392"/>
                  <a:gd name="connsiteX5" fmla="*/ 61913 w 247650"/>
                  <a:gd name="connsiteY5" fmla="*/ 92393 h 92392"/>
                  <a:gd name="connsiteX6" fmla="*/ 0 w 247650"/>
                  <a:gd name="connsiteY6" fmla="*/ 92393 h 92392"/>
                  <a:gd name="connsiteX7" fmla="*/ 65723 w 247650"/>
                  <a:gd name="connsiteY7" fmla="*/ 26670 h 92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7650" h="92392">
                    <a:moveTo>
                      <a:pt x="65723" y="26670"/>
                    </a:moveTo>
                    <a:cubicBezTo>
                      <a:pt x="73343" y="26670"/>
                      <a:pt x="80010" y="27622"/>
                      <a:pt x="86677" y="30480"/>
                    </a:cubicBezTo>
                    <a:cubicBezTo>
                      <a:pt x="103823" y="11430"/>
                      <a:pt x="127635" y="0"/>
                      <a:pt x="155258" y="0"/>
                    </a:cubicBezTo>
                    <a:cubicBezTo>
                      <a:pt x="206693" y="0"/>
                      <a:pt x="247650" y="40957"/>
                      <a:pt x="247650" y="92393"/>
                    </a:cubicBezTo>
                    <a:lnTo>
                      <a:pt x="130493" y="92393"/>
                    </a:lnTo>
                    <a:lnTo>
                      <a:pt x="61913" y="92393"/>
                    </a:lnTo>
                    <a:lnTo>
                      <a:pt x="0" y="92393"/>
                    </a:lnTo>
                    <a:cubicBezTo>
                      <a:pt x="0" y="56197"/>
                      <a:pt x="29528" y="26670"/>
                      <a:pt x="65723" y="2667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cxnSp>
        <p:nvCxnSpPr>
          <p:cNvPr id="114" name="直接连接符 113"/>
          <p:cNvCxnSpPr/>
          <p:nvPr/>
        </p:nvCxnSpPr>
        <p:spPr>
          <a:xfrm>
            <a:off x="6317676" y="1130300"/>
            <a:ext cx="1" cy="3198029"/>
          </a:xfrm>
          <a:prstGeom prst="line">
            <a:avLst/>
          </a:prstGeom>
          <a:ln w="28575">
            <a:solidFill>
              <a:srgbClr val="002060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文本框 117"/>
          <p:cNvSpPr txBox="1"/>
          <p:nvPr/>
        </p:nvSpPr>
        <p:spPr>
          <a:xfrm>
            <a:off x="692731" y="4414986"/>
            <a:ext cx="741435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800" dirty="0">
                <a:effectLst/>
                <a:latin typeface="Times New Roman" panose="02020603050405020304" pitchFamily="18" charset="0"/>
                <a:ea typeface="等线" panose="02010600030101010101" charset="-122"/>
              </a:rPr>
              <a:t>low-resolution images and high-resolution images are strictly equivalent in shape and position, and all we need to do is to add more texture on the low-resolution images</a:t>
            </a:r>
          </a:p>
          <a:p>
            <a:r>
              <a:rPr lang="en-US" altLang="zh-CN" b="1" dirty="0">
                <a:latin typeface="Times New Roman" panose="02020603050405020304" pitchFamily="18" charset="0"/>
                <a:ea typeface="等线" panose="02010600030101010101" charset="-122"/>
              </a:rPr>
              <a:t>Feature map contains image texture</a:t>
            </a:r>
          </a:p>
          <a:p>
            <a:endParaRPr lang="en-US" altLang="zh-CN" dirty="0">
              <a:latin typeface="Times New Roman" panose="02020603050405020304" pitchFamily="18" charset="0"/>
              <a:ea typeface="等线" panose="02010600030101010101" charset="-122"/>
            </a:endParaRPr>
          </a:p>
          <a:p>
            <a:r>
              <a:rPr lang="en-US" altLang="zh-CN" b="1" dirty="0">
                <a:latin typeface="Times New Roman" panose="02020603050405020304" pitchFamily="18" charset="0"/>
                <a:ea typeface="等线" panose="02010600030101010101" charset="-122"/>
              </a:rPr>
              <a:t>TOTAL LOSS = Content Loss + GAN Loss</a:t>
            </a:r>
            <a:endParaRPr lang="zh-CN" altLang="en-US" b="1" dirty="0"/>
          </a:p>
        </p:txBody>
      </p:sp>
      <p:sp>
        <p:nvSpPr>
          <p:cNvPr id="119" name="文本框 118"/>
          <p:cNvSpPr txBox="1"/>
          <p:nvPr/>
        </p:nvSpPr>
        <p:spPr>
          <a:xfrm>
            <a:off x="734299" y="6294579"/>
            <a:ext cx="741435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 err="1">
                <a:solidFill>
                  <a:srgbClr val="222222"/>
                </a:solidFill>
                <a:effectLst/>
                <a:latin typeface="Arial" panose="020B0604020202020204" pitchFamily="34" charset="0"/>
                <a:ea typeface="等线" panose="02010600030101010101" charset="-122"/>
              </a:rPr>
              <a:t>Ledig</a:t>
            </a:r>
            <a:r>
              <a:rPr lang="en-US" altLang="zh-CN" sz="1000" dirty="0">
                <a:solidFill>
                  <a:srgbClr val="222222"/>
                </a:solidFill>
                <a:effectLst/>
                <a:latin typeface="Arial" panose="020B0604020202020204" pitchFamily="34" charset="0"/>
                <a:ea typeface="等线" panose="02010600030101010101" charset="-122"/>
              </a:rPr>
              <a:t>, C., Theis, L., </a:t>
            </a:r>
            <a:r>
              <a:rPr lang="en-US" altLang="zh-CN" sz="1000" dirty="0" err="1">
                <a:solidFill>
                  <a:srgbClr val="222222"/>
                </a:solidFill>
                <a:effectLst/>
                <a:latin typeface="Arial" panose="020B0604020202020204" pitchFamily="34" charset="0"/>
                <a:ea typeface="等线" panose="02010600030101010101" charset="-122"/>
              </a:rPr>
              <a:t>Huszár</a:t>
            </a:r>
            <a:r>
              <a:rPr lang="en-US" altLang="zh-CN" sz="1000" dirty="0">
                <a:solidFill>
                  <a:srgbClr val="222222"/>
                </a:solidFill>
                <a:effectLst/>
                <a:latin typeface="Arial" panose="020B0604020202020204" pitchFamily="34" charset="0"/>
                <a:ea typeface="等线" panose="02010600030101010101" charset="-122"/>
              </a:rPr>
              <a:t>, F., Caballero, J., Cunningham, A., Acosta, A., ... &amp; Shi, W. (2017). Photo-realistic single image super-resolution using a generative adversarial network. In </a:t>
            </a:r>
            <a:r>
              <a:rPr lang="en-US" altLang="zh-CN" sz="1000" i="1" dirty="0">
                <a:solidFill>
                  <a:srgbClr val="222222"/>
                </a:solidFill>
                <a:effectLst/>
                <a:latin typeface="Arial" panose="020B0604020202020204" pitchFamily="34" charset="0"/>
                <a:ea typeface="等线" panose="02010600030101010101" charset="-122"/>
              </a:rPr>
              <a:t>Proceedings of the IEEE conference on computer vision and pattern recognition</a:t>
            </a:r>
            <a:r>
              <a:rPr lang="en-US" altLang="zh-CN" sz="1000" dirty="0">
                <a:solidFill>
                  <a:srgbClr val="222222"/>
                </a:solidFill>
                <a:effectLst/>
                <a:latin typeface="Arial" panose="020B0604020202020204" pitchFamily="34" charset="0"/>
                <a:ea typeface="等线" panose="02010600030101010101" charset="-122"/>
              </a:rPr>
              <a:t> (pp. 4681-4690)</a:t>
            </a:r>
            <a:endParaRPr lang="zh-CN" altLang="en-US" sz="1000" dirty="0"/>
          </a:p>
        </p:txBody>
      </p:sp>
      <p:pic>
        <p:nvPicPr>
          <p:cNvPr id="87" name="图片 86">
            <a:extLst>
              <a:ext uri="{FF2B5EF4-FFF2-40B4-BE49-F238E27FC236}">
                <a16:creationId xmlns:a16="http://schemas.microsoft.com/office/drawing/2014/main" id="{DAB78975-839A-3275-93C6-84E2C248EE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4" y="1072532"/>
            <a:ext cx="5426076" cy="3452303"/>
          </a:xfrm>
          <a:prstGeom prst="rect">
            <a:avLst/>
          </a:prstGeom>
        </p:spPr>
      </p:pic>
      <p:pic>
        <p:nvPicPr>
          <p:cNvPr id="89" name="图片 88">
            <a:extLst>
              <a:ext uri="{FF2B5EF4-FFF2-40B4-BE49-F238E27FC236}">
                <a16:creationId xmlns:a16="http://schemas.microsoft.com/office/drawing/2014/main" id="{0503668C-A3F3-6E4C-077E-9230C16B43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8414" y="1051514"/>
            <a:ext cx="5108723" cy="3269226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ur SRGA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6</a:t>
            </a:fld>
            <a:endParaRPr lang="zh-CN" altLang="en-US"/>
          </a:p>
        </p:txBody>
      </p:sp>
      <p:grpSp>
        <p:nvGrpSpPr>
          <p:cNvPr id="5" name="组合 4"/>
          <p:cNvGrpSpPr/>
          <p:nvPr/>
        </p:nvGrpSpPr>
        <p:grpSpPr>
          <a:xfrm>
            <a:off x="8358909" y="5477164"/>
            <a:ext cx="3719729" cy="1298762"/>
            <a:chOff x="2772569" y="2151697"/>
            <a:chExt cx="6719888" cy="2554605"/>
          </a:xfrm>
        </p:grpSpPr>
        <p:grpSp>
          <p:nvGrpSpPr>
            <p:cNvPr id="6" name="组合 5"/>
            <p:cNvGrpSpPr/>
            <p:nvPr/>
          </p:nvGrpSpPr>
          <p:grpSpPr>
            <a:xfrm>
              <a:off x="7873207" y="2151697"/>
              <a:ext cx="1093469" cy="2553652"/>
              <a:chOff x="7838122" y="219075"/>
              <a:chExt cx="1093469" cy="2553652"/>
            </a:xfrm>
          </p:grpSpPr>
          <p:sp>
            <p:nvSpPr>
              <p:cNvPr id="79" name="任意多边形 157"/>
              <p:cNvSpPr/>
              <p:nvPr/>
            </p:nvSpPr>
            <p:spPr>
              <a:xfrm>
                <a:off x="8309609" y="280987"/>
                <a:ext cx="151447" cy="2491740"/>
              </a:xfrm>
              <a:custGeom>
                <a:avLst/>
                <a:gdLst>
                  <a:gd name="connsiteX0" fmla="*/ 151447 w 151447"/>
                  <a:gd name="connsiteY0" fmla="*/ 2491740 h 2491740"/>
                  <a:gd name="connsiteX1" fmla="*/ 0 w 151447"/>
                  <a:gd name="connsiteY1" fmla="*/ 2491740 h 2491740"/>
                  <a:gd name="connsiteX2" fmla="*/ 52388 w 151447"/>
                  <a:gd name="connsiteY2" fmla="*/ 0 h 2491740"/>
                  <a:gd name="connsiteX3" fmla="*/ 99060 w 151447"/>
                  <a:gd name="connsiteY3" fmla="*/ 0 h 249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1447" h="2491740">
                    <a:moveTo>
                      <a:pt x="151447" y="2491740"/>
                    </a:moveTo>
                    <a:lnTo>
                      <a:pt x="0" y="2491740"/>
                    </a:lnTo>
                    <a:lnTo>
                      <a:pt x="52388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80" name="组合 79"/>
              <p:cNvGrpSpPr/>
              <p:nvPr/>
            </p:nvGrpSpPr>
            <p:grpSpPr>
              <a:xfrm>
                <a:off x="7838122" y="219075"/>
                <a:ext cx="1093469" cy="1788795"/>
                <a:chOff x="7838122" y="219075"/>
                <a:chExt cx="1093469" cy="1788795"/>
              </a:xfrm>
            </p:grpSpPr>
            <p:sp>
              <p:nvSpPr>
                <p:cNvPr id="81" name="任意多边形 159"/>
                <p:cNvSpPr/>
                <p:nvPr/>
              </p:nvSpPr>
              <p:spPr>
                <a:xfrm>
                  <a:off x="7838122" y="1418272"/>
                  <a:ext cx="1093469" cy="589597"/>
                </a:xfrm>
                <a:custGeom>
                  <a:avLst/>
                  <a:gdLst>
                    <a:gd name="connsiteX0" fmla="*/ 542925 w 1093469"/>
                    <a:gd name="connsiteY0" fmla="*/ 0 h 589597"/>
                    <a:gd name="connsiteX1" fmla="*/ 0 w 1093469"/>
                    <a:gd name="connsiteY1" fmla="*/ 589598 h 589597"/>
                    <a:gd name="connsiteX2" fmla="*/ 546735 w 1093469"/>
                    <a:gd name="connsiteY2" fmla="*/ 589598 h 589597"/>
                    <a:gd name="connsiteX3" fmla="*/ 1093470 w 1093469"/>
                    <a:gd name="connsiteY3" fmla="*/ 589598 h 589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93469" h="589597">
                      <a:moveTo>
                        <a:pt x="542925" y="0"/>
                      </a:moveTo>
                      <a:lnTo>
                        <a:pt x="0" y="589598"/>
                      </a:lnTo>
                      <a:lnTo>
                        <a:pt x="546735" y="589598"/>
                      </a:lnTo>
                      <a:lnTo>
                        <a:pt x="1093470" y="589598"/>
                      </a:ln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2" name="任意多边形 160"/>
                <p:cNvSpPr/>
                <p:nvPr/>
              </p:nvSpPr>
              <p:spPr>
                <a:xfrm>
                  <a:off x="7892414" y="1091564"/>
                  <a:ext cx="979170" cy="480060"/>
                </a:xfrm>
                <a:custGeom>
                  <a:avLst/>
                  <a:gdLst>
                    <a:gd name="connsiteX0" fmla="*/ 486728 w 979170"/>
                    <a:gd name="connsiteY0" fmla="*/ 0 h 480060"/>
                    <a:gd name="connsiteX1" fmla="*/ 0 w 979170"/>
                    <a:gd name="connsiteY1" fmla="*/ 480060 h 480060"/>
                    <a:gd name="connsiteX2" fmla="*/ 489585 w 979170"/>
                    <a:gd name="connsiteY2" fmla="*/ 480060 h 480060"/>
                    <a:gd name="connsiteX3" fmla="*/ 979170 w 979170"/>
                    <a:gd name="connsiteY3" fmla="*/ 480060 h 4800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9170" h="480060">
                      <a:moveTo>
                        <a:pt x="486728" y="0"/>
                      </a:moveTo>
                      <a:lnTo>
                        <a:pt x="0" y="480060"/>
                      </a:lnTo>
                      <a:lnTo>
                        <a:pt x="489585" y="480060"/>
                      </a:lnTo>
                      <a:lnTo>
                        <a:pt x="979170" y="480060"/>
                      </a:ln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3" name="任意多边形 161"/>
                <p:cNvSpPr/>
                <p:nvPr/>
              </p:nvSpPr>
              <p:spPr>
                <a:xfrm>
                  <a:off x="7937181" y="819150"/>
                  <a:ext cx="886777" cy="398145"/>
                </a:xfrm>
                <a:custGeom>
                  <a:avLst/>
                  <a:gdLst>
                    <a:gd name="connsiteX0" fmla="*/ 441007 w 886777"/>
                    <a:gd name="connsiteY0" fmla="*/ 0 h 398145"/>
                    <a:gd name="connsiteX1" fmla="*/ 0 w 886777"/>
                    <a:gd name="connsiteY1" fmla="*/ 398145 h 398145"/>
                    <a:gd name="connsiteX2" fmla="*/ 442913 w 886777"/>
                    <a:gd name="connsiteY2" fmla="*/ 398145 h 398145"/>
                    <a:gd name="connsiteX3" fmla="*/ 886778 w 886777"/>
                    <a:gd name="connsiteY3" fmla="*/ 398145 h 3981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86777" h="398145">
                      <a:moveTo>
                        <a:pt x="441007" y="0"/>
                      </a:moveTo>
                      <a:lnTo>
                        <a:pt x="0" y="398145"/>
                      </a:lnTo>
                      <a:lnTo>
                        <a:pt x="442913" y="398145"/>
                      </a:lnTo>
                      <a:lnTo>
                        <a:pt x="886778" y="398145"/>
                      </a:ln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4" name="任意多边形 162"/>
                <p:cNvSpPr/>
                <p:nvPr/>
              </p:nvSpPr>
              <p:spPr>
                <a:xfrm>
                  <a:off x="7973376" y="587692"/>
                  <a:ext cx="809625" cy="336232"/>
                </a:xfrm>
                <a:custGeom>
                  <a:avLst/>
                  <a:gdLst>
                    <a:gd name="connsiteX0" fmla="*/ 402908 w 809625"/>
                    <a:gd name="connsiteY0" fmla="*/ 0 h 336232"/>
                    <a:gd name="connsiteX1" fmla="*/ 0 w 809625"/>
                    <a:gd name="connsiteY1" fmla="*/ 336233 h 336232"/>
                    <a:gd name="connsiteX2" fmla="*/ 404813 w 809625"/>
                    <a:gd name="connsiteY2" fmla="*/ 336233 h 336232"/>
                    <a:gd name="connsiteX3" fmla="*/ 809625 w 809625"/>
                    <a:gd name="connsiteY3" fmla="*/ 336233 h 336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9625" h="336232">
                      <a:moveTo>
                        <a:pt x="402908" y="0"/>
                      </a:moveTo>
                      <a:lnTo>
                        <a:pt x="0" y="336233"/>
                      </a:lnTo>
                      <a:lnTo>
                        <a:pt x="404813" y="336233"/>
                      </a:lnTo>
                      <a:lnTo>
                        <a:pt x="809625" y="336233"/>
                      </a:lnTo>
                      <a:close/>
                    </a:path>
                  </a:pathLst>
                </a:custGeom>
                <a:solidFill>
                  <a:srgbClr val="45BC5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5" name="任意多边形 163"/>
                <p:cNvSpPr/>
                <p:nvPr/>
              </p:nvSpPr>
              <p:spPr>
                <a:xfrm>
                  <a:off x="8003856" y="390525"/>
                  <a:ext cx="745807" cy="286702"/>
                </a:xfrm>
                <a:custGeom>
                  <a:avLst/>
                  <a:gdLst>
                    <a:gd name="connsiteX0" fmla="*/ 371475 w 745807"/>
                    <a:gd name="connsiteY0" fmla="*/ 0 h 286702"/>
                    <a:gd name="connsiteX1" fmla="*/ 0 w 745807"/>
                    <a:gd name="connsiteY1" fmla="*/ 286703 h 286702"/>
                    <a:gd name="connsiteX2" fmla="*/ 373380 w 745807"/>
                    <a:gd name="connsiteY2" fmla="*/ 286703 h 286702"/>
                    <a:gd name="connsiteX3" fmla="*/ 745807 w 745807"/>
                    <a:gd name="connsiteY3" fmla="*/ 286703 h 286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5807" h="286702">
                      <a:moveTo>
                        <a:pt x="371475" y="0"/>
                      </a:moveTo>
                      <a:lnTo>
                        <a:pt x="0" y="286703"/>
                      </a:lnTo>
                      <a:lnTo>
                        <a:pt x="373380" y="286703"/>
                      </a:lnTo>
                      <a:lnTo>
                        <a:pt x="745807" y="286703"/>
                      </a:ln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6" name="任意多边形 164"/>
                <p:cNvSpPr/>
                <p:nvPr/>
              </p:nvSpPr>
              <p:spPr>
                <a:xfrm>
                  <a:off x="8030526" y="219075"/>
                  <a:ext cx="690562" cy="248602"/>
                </a:xfrm>
                <a:custGeom>
                  <a:avLst/>
                  <a:gdLst>
                    <a:gd name="connsiteX0" fmla="*/ 343853 w 690562"/>
                    <a:gd name="connsiteY0" fmla="*/ 0 h 248602"/>
                    <a:gd name="connsiteX1" fmla="*/ 0 w 690562"/>
                    <a:gd name="connsiteY1" fmla="*/ 248603 h 248602"/>
                    <a:gd name="connsiteX2" fmla="*/ 344805 w 690562"/>
                    <a:gd name="connsiteY2" fmla="*/ 248603 h 248602"/>
                    <a:gd name="connsiteX3" fmla="*/ 690563 w 690562"/>
                    <a:gd name="connsiteY3" fmla="*/ 248603 h 2486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0562" h="248602">
                      <a:moveTo>
                        <a:pt x="343853" y="0"/>
                      </a:moveTo>
                      <a:lnTo>
                        <a:pt x="0" y="248603"/>
                      </a:lnTo>
                      <a:lnTo>
                        <a:pt x="344805" y="248603"/>
                      </a:lnTo>
                      <a:lnTo>
                        <a:pt x="690563" y="248603"/>
                      </a:ln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7" name="组合 6"/>
            <p:cNvGrpSpPr/>
            <p:nvPr/>
          </p:nvGrpSpPr>
          <p:grpSpPr>
            <a:xfrm>
              <a:off x="5240497" y="2258376"/>
              <a:ext cx="1892617" cy="2446972"/>
              <a:chOff x="5205412" y="325754"/>
              <a:chExt cx="1892617" cy="2446972"/>
            </a:xfrm>
          </p:grpSpPr>
          <p:sp>
            <p:nvSpPr>
              <p:cNvPr id="67" name="任意多边形 168"/>
              <p:cNvSpPr/>
              <p:nvPr/>
            </p:nvSpPr>
            <p:spPr>
              <a:xfrm>
                <a:off x="6055042" y="425767"/>
                <a:ext cx="194309" cy="2346960"/>
              </a:xfrm>
              <a:custGeom>
                <a:avLst/>
                <a:gdLst>
                  <a:gd name="connsiteX0" fmla="*/ 194310 w 194309"/>
                  <a:gd name="connsiteY0" fmla="*/ 2346960 h 2346960"/>
                  <a:gd name="connsiteX1" fmla="*/ 0 w 194309"/>
                  <a:gd name="connsiteY1" fmla="*/ 2346960 h 2346960"/>
                  <a:gd name="connsiteX2" fmla="*/ 66675 w 194309"/>
                  <a:gd name="connsiteY2" fmla="*/ 0 h 2346960"/>
                  <a:gd name="connsiteX3" fmla="*/ 127635 w 194309"/>
                  <a:gd name="connsiteY3" fmla="*/ 0 h 2346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4309" h="2346960">
                    <a:moveTo>
                      <a:pt x="194310" y="2346960"/>
                    </a:moveTo>
                    <a:lnTo>
                      <a:pt x="0" y="2346960"/>
                    </a:lnTo>
                    <a:lnTo>
                      <a:pt x="66675" y="0"/>
                    </a:lnTo>
                    <a:lnTo>
                      <a:pt x="127635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8" name="组合 67"/>
              <p:cNvGrpSpPr/>
              <p:nvPr/>
            </p:nvGrpSpPr>
            <p:grpSpPr>
              <a:xfrm>
                <a:off x="5205412" y="325754"/>
                <a:ext cx="1892617" cy="1728787"/>
                <a:chOff x="5205412" y="325754"/>
                <a:chExt cx="1892617" cy="1728787"/>
              </a:xfrm>
            </p:grpSpPr>
            <p:sp>
              <p:nvSpPr>
                <p:cNvPr id="69" name="任意多边形 170"/>
                <p:cNvSpPr/>
                <p:nvPr/>
              </p:nvSpPr>
              <p:spPr>
                <a:xfrm>
                  <a:off x="5354954" y="596264"/>
                  <a:ext cx="741044" cy="741045"/>
                </a:xfrm>
                <a:custGeom>
                  <a:avLst/>
                  <a:gdLst>
                    <a:gd name="connsiteX0" fmla="*/ 741045 w 741044"/>
                    <a:gd name="connsiteY0" fmla="*/ 370523 h 741045"/>
                    <a:gd name="connsiteX1" fmla="*/ 370522 w 741044"/>
                    <a:gd name="connsiteY1" fmla="*/ 741045 h 741045"/>
                    <a:gd name="connsiteX2" fmla="*/ 0 w 741044"/>
                    <a:gd name="connsiteY2" fmla="*/ 370523 h 741045"/>
                    <a:gd name="connsiteX3" fmla="*/ 370522 w 741044"/>
                    <a:gd name="connsiteY3" fmla="*/ 0 h 741045"/>
                    <a:gd name="connsiteX4" fmla="*/ 741045 w 741044"/>
                    <a:gd name="connsiteY4" fmla="*/ 370523 h 741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1044" h="741045">
                      <a:moveTo>
                        <a:pt x="741045" y="370523"/>
                      </a:moveTo>
                      <a:cubicBezTo>
                        <a:pt x="741045" y="575310"/>
                        <a:pt x="575310" y="741045"/>
                        <a:pt x="370522" y="741045"/>
                      </a:cubicBezTo>
                      <a:cubicBezTo>
                        <a:pt x="165735" y="741045"/>
                        <a:pt x="0" y="575310"/>
                        <a:pt x="0" y="370523"/>
                      </a:cubicBezTo>
                      <a:cubicBezTo>
                        <a:pt x="0" y="165735"/>
                        <a:pt x="165735" y="0"/>
                        <a:pt x="370522" y="0"/>
                      </a:cubicBezTo>
                      <a:cubicBezTo>
                        <a:pt x="574357" y="0"/>
                        <a:pt x="741045" y="165735"/>
                        <a:pt x="741045" y="370523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0" name="任意多边形 171"/>
                <p:cNvSpPr/>
                <p:nvPr/>
              </p:nvSpPr>
              <p:spPr>
                <a:xfrm>
                  <a:off x="6587489" y="866769"/>
                  <a:ext cx="510540" cy="510545"/>
                </a:xfrm>
                <a:custGeom>
                  <a:avLst/>
                  <a:gdLst>
                    <a:gd name="connsiteX0" fmla="*/ 510540 w 510540"/>
                    <a:gd name="connsiteY0" fmla="*/ 255276 h 510545"/>
                    <a:gd name="connsiteX1" fmla="*/ 255270 w 510540"/>
                    <a:gd name="connsiteY1" fmla="*/ 510546 h 510545"/>
                    <a:gd name="connsiteX2" fmla="*/ 0 w 510540"/>
                    <a:gd name="connsiteY2" fmla="*/ 255276 h 510545"/>
                    <a:gd name="connsiteX3" fmla="*/ 255270 w 510540"/>
                    <a:gd name="connsiteY3" fmla="*/ 6 h 510545"/>
                    <a:gd name="connsiteX4" fmla="*/ 510540 w 510540"/>
                    <a:gd name="connsiteY4" fmla="*/ 255276 h 5105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0540" h="510545">
                      <a:moveTo>
                        <a:pt x="510540" y="255276"/>
                      </a:moveTo>
                      <a:cubicBezTo>
                        <a:pt x="510540" y="396246"/>
                        <a:pt x="396240" y="510546"/>
                        <a:pt x="255270" y="510546"/>
                      </a:cubicBezTo>
                      <a:cubicBezTo>
                        <a:pt x="114300" y="510546"/>
                        <a:pt x="0" y="396246"/>
                        <a:pt x="0" y="255276"/>
                      </a:cubicBezTo>
                      <a:cubicBezTo>
                        <a:pt x="0" y="114306"/>
                        <a:pt x="114300" y="6"/>
                        <a:pt x="255270" y="6"/>
                      </a:cubicBezTo>
                      <a:cubicBezTo>
                        <a:pt x="396240" y="-947"/>
                        <a:pt x="510540" y="114306"/>
                        <a:pt x="510540" y="255276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1" name="任意多边形 172"/>
                <p:cNvSpPr/>
                <p:nvPr/>
              </p:nvSpPr>
              <p:spPr>
                <a:xfrm>
                  <a:off x="5427344" y="545782"/>
                  <a:ext cx="1508760" cy="1508759"/>
                </a:xfrm>
                <a:custGeom>
                  <a:avLst/>
                  <a:gdLst>
                    <a:gd name="connsiteX0" fmla="*/ 1508760 w 1508760"/>
                    <a:gd name="connsiteY0" fmla="*/ 754380 h 1508759"/>
                    <a:gd name="connsiteX1" fmla="*/ 754380 w 1508760"/>
                    <a:gd name="connsiteY1" fmla="*/ 1508760 h 1508759"/>
                    <a:gd name="connsiteX2" fmla="*/ 0 w 1508760"/>
                    <a:gd name="connsiteY2" fmla="*/ 754380 h 1508759"/>
                    <a:gd name="connsiteX3" fmla="*/ 754380 w 1508760"/>
                    <a:gd name="connsiteY3" fmla="*/ 0 h 1508759"/>
                    <a:gd name="connsiteX4" fmla="*/ 1508760 w 1508760"/>
                    <a:gd name="connsiteY4" fmla="*/ 754380 h 1508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760" h="1508759">
                      <a:moveTo>
                        <a:pt x="1508760" y="754380"/>
                      </a:moveTo>
                      <a:cubicBezTo>
                        <a:pt x="1508760" y="1170623"/>
                        <a:pt x="1171575" y="1508760"/>
                        <a:pt x="754380" y="1508760"/>
                      </a:cubicBezTo>
                      <a:cubicBezTo>
                        <a:pt x="338138" y="1508760"/>
                        <a:pt x="0" y="1171575"/>
                        <a:pt x="0" y="754380"/>
                      </a:cubicBezTo>
                      <a:cubicBezTo>
                        <a:pt x="0" y="338138"/>
                        <a:pt x="337185" y="0"/>
                        <a:pt x="754380" y="0"/>
                      </a:cubicBezTo>
                      <a:cubicBezTo>
                        <a:pt x="1171575" y="953"/>
                        <a:pt x="1508760" y="338138"/>
                        <a:pt x="1508760" y="754380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2" name="任意多边形 173"/>
                <p:cNvSpPr/>
                <p:nvPr/>
              </p:nvSpPr>
              <p:spPr>
                <a:xfrm>
                  <a:off x="5205412" y="1026795"/>
                  <a:ext cx="798194" cy="798195"/>
                </a:xfrm>
                <a:custGeom>
                  <a:avLst/>
                  <a:gdLst>
                    <a:gd name="connsiteX0" fmla="*/ 798195 w 798194"/>
                    <a:gd name="connsiteY0" fmla="*/ 399097 h 798195"/>
                    <a:gd name="connsiteX1" fmla="*/ 399097 w 798194"/>
                    <a:gd name="connsiteY1" fmla="*/ 798195 h 798195"/>
                    <a:gd name="connsiteX2" fmla="*/ 0 w 798194"/>
                    <a:gd name="connsiteY2" fmla="*/ 399097 h 798195"/>
                    <a:gd name="connsiteX3" fmla="*/ 399097 w 798194"/>
                    <a:gd name="connsiteY3" fmla="*/ 0 h 798195"/>
                    <a:gd name="connsiteX4" fmla="*/ 798195 w 798194"/>
                    <a:gd name="connsiteY4" fmla="*/ 399097 h 798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98194" h="798195">
                      <a:moveTo>
                        <a:pt x="798195" y="399097"/>
                      </a:moveTo>
                      <a:cubicBezTo>
                        <a:pt x="798195" y="619125"/>
                        <a:pt x="619125" y="798195"/>
                        <a:pt x="399097" y="798195"/>
                      </a:cubicBezTo>
                      <a:cubicBezTo>
                        <a:pt x="179070" y="798195"/>
                        <a:pt x="0" y="619125"/>
                        <a:pt x="0" y="399097"/>
                      </a:cubicBezTo>
                      <a:cubicBezTo>
                        <a:pt x="0" y="179070"/>
                        <a:pt x="179070" y="0"/>
                        <a:pt x="399097" y="0"/>
                      </a:cubicBezTo>
                      <a:cubicBezTo>
                        <a:pt x="619125" y="0"/>
                        <a:pt x="798195" y="179070"/>
                        <a:pt x="798195" y="399097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3" name="任意多边形 174"/>
                <p:cNvSpPr/>
                <p:nvPr/>
              </p:nvSpPr>
              <p:spPr>
                <a:xfrm>
                  <a:off x="6276021" y="1425892"/>
                  <a:ext cx="609600" cy="609600"/>
                </a:xfrm>
                <a:custGeom>
                  <a:avLst/>
                  <a:gdLst>
                    <a:gd name="connsiteX0" fmla="*/ 609600 w 609600"/>
                    <a:gd name="connsiteY0" fmla="*/ 304800 h 609600"/>
                    <a:gd name="connsiteX1" fmla="*/ 304800 w 609600"/>
                    <a:gd name="connsiteY1" fmla="*/ 609600 h 609600"/>
                    <a:gd name="connsiteX2" fmla="*/ 0 w 609600"/>
                    <a:gd name="connsiteY2" fmla="*/ 304800 h 609600"/>
                    <a:gd name="connsiteX3" fmla="*/ 304800 w 609600"/>
                    <a:gd name="connsiteY3" fmla="*/ 0 h 609600"/>
                    <a:gd name="connsiteX4" fmla="*/ 609600 w 609600"/>
                    <a:gd name="connsiteY4" fmla="*/ 304800 h 609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9600" h="609600">
                      <a:moveTo>
                        <a:pt x="609600" y="304800"/>
                      </a:moveTo>
                      <a:cubicBezTo>
                        <a:pt x="609600" y="473392"/>
                        <a:pt x="473393" y="609600"/>
                        <a:pt x="304800" y="609600"/>
                      </a:cubicBezTo>
                      <a:cubicBezTo>
                        <a:pt x="136208" y="609600"/>
                        <a:pt x="0" y="473392"/>
                        <a:pt x="0" y="304800"/>
                      </a:cubicBezTo>
                      <a:cubicBezTo>
                        <a:pt x="0" y="136208"/>
                        <a:pt x="136208" y="0"/>
                        <a:pt x="304800" y="0"/>
                      </a:cubicBezTo>
                      <a:cubicBezTo>
                        <a:pt x="473393" y="0"/>
                        <a:pt x="609600" y="136208"/>
                        <a:pt x="609600" y="30480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4" name="任意多边形 175"/>
                <p:cNvSpPr/>
                <p:nvPr/>
              </p:nvSpPr>
              <p:spPr>
                <a:xfrm>
                  <a:off x="5838824" y="325754"/>
                  <a:ext cx="1003934" cy="1003934"/>
                </a:xfrm>
                <a:custGeom>
                  <a:avLst/>
                  <a:gdLst>
                    <a:gd name="connsiteX0" fmla="*/ 1003935 w 1003934"/>
                    <a:gd name="connsiteY0" fmla="*/ 501968 h 1003934"/>
                    <a:gd name="connsiteX1" fmla="*/ 501968 w 1003934"/>
                    <a:gd name="connsiteY1" fmla="*/ 1003935 h 1003934"/>
                    <a:gd name="connsiteX2" fmla="*/ 0 w 1003934"/>
                    <a:gd name="connsiteY2" fmla="*/ 501968 h 1003934"/>
                    <a:gd name="connsiteX3" fmla="*/ 501968 w 1003934"/>
                    <a:gd name="connsiteY3" fmla="*/ 0 h 1003934"/>
                    <a:gd name="connsiteX4" fmla="*/ 1003935 w 1003934"/>
                    <a:gd name="connsiteY4" fmla="*/ 501968 h 1003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3934" h="1003934">
                      <a:moveTo>
                        <a:pt x="1003935" y="501968"/>
                      </a:moveTo>
                      <a:cubicBezTo>
                        <a:pt x="1003935" y="779145"/>
                        <a:pt x="779145" y="1003935"/>
                        <a:pt x="501968" y="1003935"/>
                      </a:cubicBezTo>
                      <a:cubicBezTo>
                        <a:pt x="224790" y="1003935"/>
                        <a:pt x="0" y="779145"/>
                        <a:pt x="0" y="501968"/>
                      </a:cubicBezTo>
                      <a:cubicBezTo>
                        <a:pt x="0" y="224790"/>
                        <a:pt x="224790" y="0"/>
                        <a:pt x="501968" y="0"/>
                      </a:cubicBezTo>
                      <a:cubicBezTo>
                        <a:pt x="779145" y="0"/>
                        <a:pt x="1003935" y="224790"/>
                        <a:pt x="1003935" y="501968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5" name="任意多边形 176"/>
                <p:cNvSpPr/>
                <p:nvPr/>
              </p:nvSpPr>
              <p:spPr>
                <a:xfrm>
                  <a:off x="6095046" y="1067752"/>
                  <a:ext cx="716280" cy="716280"/>
                </a:xfrm>
                <a:custGeom>
                  <a:avLst/>
                  <a:gdLst>
                    <a:gd name="connsiteX0" fmla="*/ 716280 w 716280"/>
                    <a:gd name="connsiteY0" fmla="*/ 358140 h 716280"/>
                    <a:gd name="connsiteX1" fmla="*/ 358140 w 716280"/>
                    <a:gd name="connsiteY1" fmla="*/ 716280 h 716280"/>
                    <a:gd name="connsiteX2" fmla="*/ 0 w 716280"/>
                    <a:gd name="connsiteY2" fmla="*/ 358140 h 716280"/>
                    <a:gd name="connsiteX3" fmla="*/ 358140 w 716280"/>
                    <a:gd name="connsiteY3" fmla="*/ 0 h 716280"/>
                    <a:gd name="connsiteX4" fmla="*/ 716280 w 716280"/>
                    <a:gd name="connsiteY4" fmla="*/ 358140 h 716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6280" h="716280">
                      <a:moveTo>
                        <a:pt x="716280" y="358140"/>
                      </a:moveTo>
                      <a:cubicBezTo>
                        <a:pt x="716280" y="556260"/>
                        <a:pt x="556260" y="716280"/>
                        <a:pt x="358140" y="716280"/>
                      </a:cubicBezTo>
                      <a:cubicBezTo>
                        <a:pt x="160020" y="716280"/>
                        <a:pt x="0" y="556260"/>
                        <a:pt x="0" y="358140"/>
                      </a:cubicBezTo>
                      <a:cubicBezTo>
                        <a:pt x="0" y="160020"/>
                        <a:pt x="160020" y="0"/>
                        <a:pt x="358140" y="0"/>
                      </a:cubicBezTo>
                      <a:cubicBezTo>
                        <a:pt x="556260" y="0"/>
                        <a:pt x="716280" y="160020"/>
                        <a:pt x="716280" y="35814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" name="任意多边形 177"/>
                <p:cNvSpPr/>
                <p:nvPr/>
              </p:nvSpPr>
              <p:spPr>
                <a:xfrm>
                  <a:off x="5825489" y="1122045"/>
                  <a:ext cx="356234" cy="356234"/>
                </a:xfrm>
                <a:custGeom>
                  <a:avLst/>
                  <a:gdLst>
                    <a:gd name="connsiteX0" fmla="*/ 356235 w 356234"/>
                    <a:gd name="connsiteY0" fmla="*/ 178117 h 356234"/>
                    <a:gd name="connsiteX1" fmla="*/ 178117 w 356234"/>
                    <a:gd name="connsiteY1" fmla="*/ 356235 h 356234"/>
                    <a:gd name="connsiteX2" fmla="*/ 0 w 356234"/>
                    <a:gd name="connsiteY2" fmla="*/ 178117 h 356234"/>
                    <a:gd name="connsiteX3" fmla="*/ 178117 w 356234"/>
                    <a:gd name="connsiteY3" fmla="*/ 0 h 356234"/>
                    <a:gd name="connsiteX4" fmla="*/ 356235 w 356234"/>
                    <a:gd name="connsiteY4" fmla="*/ 178117 h 3562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234" h="356234">
                      <a:moveTo>
                        <a:pt x="356235" y="178117"/>
                      </a:moveTo>
                      <a:cubicBezTo>
                        <a:pt x="356235" y="276225"/>
                        <a:pt x="276225" y="356235"/>
                        <a:pt x="178117" y="356235"/>
                      </a:cubicBezTo>
                      <a:cubicBezTo>
                        <a:pt x="80010" y="356235"/>
                        <a:pt x="0" y="276225"/>
                        <a:pt x="0" y="178117"/>
                      </a:cubicBezTo>
                      <a:cubicBezTo>
                        <a:pt x="0" y="80010"/>
                        <a:pt x="80010" y="0"/>
                        <a:pt x="178117" y="0"/>
                      </a:cubicBezTo>
                      <a:cubicBezTo>
                        <a:pt x="277178" y="0"/>
                        <a:pt x="356235" y="80010"/>
                        <a:pt x="356235" y="178117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7" name="任意多边形 178"/>
                <p:cNvSpPr/>
                <p:nvPr/>
              </p:nvSpPr>
              <p:spPr>
                <a:xfrm>
                  <a:off x="6644639" y="1199197"/>
                  <a:ext cx="419100" cy="419099"/>
                </a:xfrm>
                <a:custGeom>
                  <a:avLst/>
                  <a:gdLst>
                    <a:gd name="connsiteX0" fmla="*/ 419100 w 419100"/>
                    <a:gd name="connsiteY0" fmla="*/ 209550 h 419099"/>
                    <a:gd name="connsiteX1" fmla="*/ 209550 w 419100"/>
                    <a:gd name="connsiteY1" fmla="*/ 419100 h 419099"/>
                    <a:gd name="connsiteX2" fmla="*/ 0 w 419100"/>
                    <a:gd name="connsiteY2" fmla="*/ 209550 h 419099"/>
                    <a:gd name="connsiteX3" fmla="*/ 209550 w 419100"/>
                    <a:gd name="connsiteY3" fmla="*/ 0 h 419099"/>
                    <a:gd name="connsiteX4" fmla="*/ 419100 w 419100"/>
                    <a:gd name="connsiteY4" fmla="*/ 209550 h 419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9100" h="419099">
                      <a:moveTo>
                        <a:pt x="419100" y="209550"/>
                      </a:moveTo>
                      <a:cubicBezTo>
                        <a:pt x="419100" y="325755"/>
                        <a:pt x="324803" y="419100"/>
                        <a:pt x="209550" y="419100"/>
                      </a:cubicBezTo>
                      <a:cubicBezTo>
                        <a:pt x="93345" y="419100"/>
                        <a:pt x="0" y="324803"/>
                        <a:pt x="0" y="209550"/>
                      </a:cubicBezTo>
                      <a:cubicBezTo>
                        <a:pt x="0" y="93345"/>
                        <a:pt x="94297" y="0"/>
                        <a:pt x="209550" y="0"/>
                      </a:cubicBezTo>
                      <a:cubicBezTo>
                        <a:pt x="325755" y="0"/>
                        <a:pt x="419100" y="94298"/>
                        <a:pt x="419100" y="20955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8" name="任意多边形 179"/>
                <p:cNvSpPr/>
                <p:nvPr/>
              </p:nvSpPr>
              <p:spPr>
                <a:xfrm>
                  <a:off x="5653087" y="1349692"/>
                  <a:ext cx="499109" cy="499110"/>
                </a:xfrm>
                <a:custGeom>
                  <a:avLst/>
                  <a:gdLst>
                    <a:gd name="connsiteX0" fmla="*/ 499110 w 499109"/>
                    <a:gd name="connsiteY0" fmla="*/ 249555 h 499110"/>
                    <a:gd name="connsiteX1" fmla="*/ 249555 w 499109"/>
                    <a:gd name="connsiteY1" fmla="*/ 499110 h 499110"/>
                    <a:gd name="connsiteX2" fmla="*/ 0 w 499109"/>
                    <a:gd name="connsiteY2" fmla="*/ 249555 h 499110"/>
                    <a:gd name="connsiteX3" fmla="*/ 249555 w 499109"/>
                    <a:gd name="connsiteY3" fmla="*/ 0 h 499110"/>
                    <a:gd name="connsiteX4" fmla="*/ 499110 w 499109"/>
                    <a:gd name="connsiteY4" fmla="*/ 249555 h 499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9109" h="499110">
                      <a:moveTo>
                        <a:pt x="499110" y="249555"/>
                      </a:moveTo>
                      <a:cubicBezTo>
                        <a:pt x="499110" y="387667"/>
                        <a:pt x="387668" y="499110"/>
                        <a:pt x="249555" y="499110"/>
                      </a:cubicBezTo>
                      <a:cubicBezTo>
                        <a:pt x="111443" y="499110"/>
                        <a:pt x="0" y="387667"/>
                        <a:pt x="0" y="249555"/>
                      </a:cubicBezTo>
                      <a:cubicBezTo>
                        <a:pt x="0" y="111442"/>
                        <a:pt x="111443" y="0"/>
                        <a:pt x="249555" y="0"/>
                      </a:cubicBezTo>
                      <a:cubicBezTo>
                        <a:pt x="386715" y="0"/>
                        <a:pt x="499110" y="111442"/>
                        <a:pt x="499110" y="249555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8" name="组合 7"/>
            <p:cNvGrpSpPr/>
            <p:nvPr/>
          </p:nvGrpSpPr>
          <p:grpSpPr>
            <a:xfrm>
              <a:off x="3252047" y="2196916"/>
              <a:ext cx="995191" cy="2508433"/>
              <a:chOff x="3216962" y="264294"/>
              <a:chExt cx="995191" cy="2508433"/>
            </a:xfrm>
          </p:grpSpPr>
          <p:sp>
            <p:nvSpPr>
              <p:cNvPr id="56" name="任意多边形 183"/>
              <p:cNvSpPr/>
              <p:nvPr/>
            </p:nvSpPr>
            <p:spPr>
              <a:xfrm>
                <a:off x="3281110" y="264294"/>
                <a:ext cx="868010" cy="2011450"/>
              </a:xfrm>
              <a:custGeom>
                <a:avLst/>
                <a:gdLst>
                  <a:gd name="connsiteX0" fmla="*/ 526032 w 868010"/>
                  <a:gd name="connsiteY0" fmla="*/ 1999798 h 2011450"/>
                  <a:gd name="connsiteX1" fmla="*/ 838452 w 868010"/>
                  <a:gd name="connsiteY1" fmla="*/ 1649278 h 2011450"/>
                  <a:gd name="connsiteX2" fmla="*/ 768919 w 868010"/>
                  <a:gd name="connsiteY2" fmla="*/ 172903 h 2011450"/>
                  <a:gd name="connsiteX3" fmla="*/ 105979 w 868010"/>
                  <a:gd name="connsiteY3" fmla="*/ 97656 h 2011450"/>
                  <a:gd name="connsiteX4" fmla="*/ 35495 w 868010"/>
                  <a:gd name="connsiteY4" fmla="*/ 1321618 h 2011450"/>
                  <a:gd name="connsiteX5" fmla="*/ 526032 w 868010"/>
                  <a:gd name="connsiteY5" fmla="*/ 1999798 h 201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8010" h="2011450">
                    <a:moveTo>
                      <a:pt x="526032" y="1999798"/>
                    </a:moveTo>
                    <a:cubicBezTo>
                      <a:pt x="643190" y="1975033"/>
                      <a:pt x="826069" y="1932171"/>
                      <a:pt x="838452" y="1649278"/>
                    </a:cubicBezTo>
                    <a:cubicBezTo>
                      <a:pt x="850835" y="1367338"/>
                      <a:pt x="927987" y="352926"/>
                      <a:pt x="768919" y="172903"/>
                    </a:cubicBezTo>
                    <a:cubicBezTo>
                      <a:pt x="609852" y="-8072"/>
                      <a:pt x="305052" y="-69032"/>
                      <a:pt x="105979" y="97656"/>
                    </a:cubicBezTo>
                    <a:cubicBezTo>
                      <a:pt x="-93093" y="263391"/>
                      <a:pt x="52639" y="1125403"/>
                      <a:pt x="35495" y="1321618"/>
                    </a:cubicBezTo>
                    <a:cubicBezTo>
                      <a:pt x="17397" y="1517833"/>
                      <a:pt x="42162" y="2100763"/>
                      <a:pt x="526032" y="19997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 184"/>
              <p:cNvSpPr/>
              <p:nvPr/>
            </p:nvSpPr>
            <p:spPr>
              <a:xfrm>
                <a:off x="3702315" y="1480537"/>
                <a:ext cx="489368" cy="580319"/>
              </a:xfrm>
              <a:custGeom>
                <a:avLst/>
                <a:gdLst>
                  <a:gd name="connsiteX0" fmla="*/ 230556 w 489368"/>
                  <a:gd name="connsiteY0" fmla="*/ 579720 h 580319"/>
                  <a:gd name="connsiteX1" fmla="*/ 462966 w 489368"/>
                  <a:gd name="connsiteY1" fmla="*/ 432083 h 580319"/>
                  <a:gd name="connsiteX2" fmla="*/ 380099 w 489368"/>
                  <a:gd name="connsiteY2" fmla="*/ 32985 h 580319"/>
                  <a:gd name="connsiteX3" fmla="*/ 21006 w 489368"/>
                  <a:gd name="connsiteY3" fmla="*/ 136808 h 580319"/>
                  <a:gd name="connsiteX4" fmla="*/ 230556 w 489368"/>
                  <a:gd name="connsiteY4" fmla="*/ 579720 h 580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9368" h="580319">
                    <a:moveTo>
                      <a:pt x="230556" y="579720"/>
                    </a:moveTo>
                    <a:cubicBezTo>
                      <a:pt x="335331" y="573053"/>
                      <a:pt x="423914" y="542573"/>
                      <a:pt x="462966" y="432083"/>
                    </a:cubicBezTo>
                    <a:cubicBezTo>
                      <a:pt x="502019" y="321593"/>
                      <a:pt x="514401" y="113948"/>
                      <a:pt x="380099" y="32985"/>
                    </a:cubicBezTo>
                    <a:cubicBezTo>
                      <a:pt x="246749" y="-47977"/>
                      <a:pt x="58154" y="32985"/>
                      <a:pt x="21006" y="136808"/>
                    </a:cubicBezTo>
                    <a:cubicBezTo>
                      <a:pt x="-16141" y="241583"/>
                      <a:pt x="-33286" y="596865"/>
                      <a:pt x="230556" y="57972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 185"/>
              <p:cNvSpPr/>
              <p:nvPr/>
            </p:nvSpPr>
            <p:spPr>
              <a:xfrm>
                <a:off x="3653789" y="948689"/>
                <a:ext cx="150495" cy="1824037"/>
              </a:xfrm>
              <a:custGeom>
                <a:avLst/>
                <a:gdLst>
                  <a:gd name="connsiteX0" fmla="*/ 150495 w 150495"/>
                  <a:gd name="connsiteY0" fmla="*/ 1824038 h 1824037"/>
                  <a:gd name="connsiteX1" fmla="*/ 0 w 150495"/>
                  <a:gd name="connsiteY1" fmla="*/ 1824038 h 1824037"/>
                  <a:gd name="connsiteX2" fmla="*/ 51435 w 150495"/>
                  <a:gd name="connsiteY2" fmla="*/ 0 h 1824037"/>
                  <a:gd name="connsiteX3" fmla="*/ 99060 w 150495"/>
                  <a:gd name="connsiteY3" fmla="*/ 0 h 1824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495" h="1824037">
                    <a:moveTo>
                      <a:pt x="150495" y="1824038"/>
                    </a:moveTo>
                    <a:lnTo>
                      <a:pt x="0" y="1824038"/>
                    </a:lnTo>
                    <a:lnTo>
                      <a:pt x="51435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 186"/>
              <p:cNvSpPr/>
              <p:nvPr/>
            </p:nvSpPr>
            <p:spPr>
              <a:xfrm>
                <a:off x="3443804" y="838200"/>
                <a:ext cx="284279" cy="289560"/>
              </a:xfrm>
              <a:custGeom>
                <a:avLst/>
                <a:gdLst>
                  <a:gd name="connsiteX0" fmla="*/ 284280 w 284279"/>
                  <a:gd name="connsiteY0" fmla="*/ 235267 h 289560"/>
                  <a:gd name="connsiteX1" fmla="*/ 64252 w 284279"/>
                  <a:gd name="connsiteY1" fmla="*/ 0 h 289560"/>
                  <a:gd name="connsiteX2" fmla="*/ 435 w 284279"/>
                  <a:gd name="connsiteY2" fmla="*/ 20002 h 289560"/>
                  <a:gd name="connsiteX3" fmla="*/ 281422 w 284279"/>
                  <a:gd name="connsiteY3" fmla="*/ 289560 h 289560"/>
                  <a:gd name="connsiteX4" fmla="*/ 284280 w 284279"/>
                  <a:gd name="connsiteY4" fmla="*/ 235267 h 289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60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 187"/>
              <p:cNvSpPr/>
              <p:nvPr/>
            </p:nvSpPr>
            <p:spPr>
              <a:xfrm>
                <a:off x="3443804" y="1560195"/>
                <a:ext cx="284279" cy="289559"/>
              </a:xfrm>
              <a:custGeom>
                <a:avLst/>
                <a:gdLst>
                  <a:gd name="connsiteX0" fmla="*/ 284280 w 284279"/>
                  <a:gd name="connsiteY0" fmla="*/ 235267 h 289559"/>
                  <a:gd name="connsiteX1" fmla="*/ 64252 w 284279"/>
                  <a:gd name="connsiteY1" fmla="*/ 0 h 289559"/>
                  <a:gd name="connsiteX2" fmla="*/ 435 w 284279"/>
                  <a:gd name="connsiteY2" fmla="*/ 20002 h 289559"/>
                  <a:gd name="connsiteX3" fmla="*/ 281422 w 284279"/>
                  <a:gd name="connsiteY3" fmla="*/ 289560 h 289559"/>
                  <a:gd name="connsiteX4" fmla="*/ 284280 w 284279"/>
                  <a:gd name="connsiteY4" fmla="*/ 235267 h 289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59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 188"/>
              <p:cNvSpPr/>
              <p:nvPr/>
            </p:nvSpPr>
            <p:spPr>
              <a:xfrm>
                <a:off x="3724274" y="1116329"/>
                <a:ext cx="317182" cy="255270"/>
              </a:xfrm>
              <a:custGeom>
                <a:avLst/>
                <a:gdLst>
                  <a:gd name="connsiteX0" fmla="*/ 5715 w 317182"/>
                  <a:gd name="connsiteY0" fmla="*/ 200978 h 255270"/>
                  <a:gd name="connsiteX1" fmla="*/ 257175 w 317182"/>
                  <a:gd name="connsiteY1" fmla="*/ 0 h 255270"/>
                  <a:gd name="connsiteX2" fmla="*/ 317183 w 317182"/>
                  <a:gd name="connsiteY2" fmla="*/ 29528 h 255270"/>
                  <a:gd name="connsiteX3" fmla="*/ 0 w 317182"/>
                  <a:gd name="connsiteY3" fmla="*/ 255270 h 255270"/>
                  <a:gd name="connsiteX4" fmla="*/ 5715 w 317182"/>
                  <a:gd name="connsiteY4" fmla="*/ 200978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7182" h="255270">
                    <a:moveTo>
                      <a:pt x="5715" y="200978"/>
                    </a:moveTo>
                    <a:cubicBezTo>
                      <a:pt x="5715" y="200978"/>
                      <a:pt x="255270" y="248603"/>
                      <a:pt x="257175" y="0"/>
                    </a:cubicBezTo>
                    <a:lnTo>
                      <a:pt x="317183" y="29528"/>
                    </a:lnTo>
                    <a:cubicBezTo>
                      <a:pt x="317183" y="29528"/>
                      <a:pt x="308610" y="252413"/>
                      <a:pt x="0" y="255270"/>
                    </a:cubicBezTo>
                    <a:lnTo>
                      <a:pt x="5715" y="2009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 189"/>
              <p:cNvSpPr/>
              <p:nvPr/>
            </p:nvSpPr>
            <p:spPr>
              <a:xfrm>
                <a:off x="3741419" y="1302067"/>
                <a:ext cx="199239" cy="294322"/>
              </a:xfrm>
              <a:custGeom>
                <a:avLst/>
                <a:gdLst>
                  <a:gd name="connsiteX0" fmla="*/ 0 w 199239"/>
                  <a:gd name="connsiteY0" fmla="*/ 239078 h 294322"/>
                  <a:gd name="connsiteX1" fmla="*/ 155257 w 199239"/>
                  <a:gd name="connsiteY1" fmla="*/ 953 h 294322"/>
                  <a:gd name="connsiteX2" fmla="*/ 199072 w 199239"/>
                  <a:gd name="connsiteY2" fmla="*/ 0 h 294322"/>
                  <a:gd name="connsiteX3" fmla="*/ 952 w 199239"/>
                  <a:gd name="connsiteY3" fmla="*/ 294323 h 294322"/>
                  <a:gd name="connsiteX4" fmla="*/ 0 w 199239"/>
                  <a:gd name="connsiteY4" fmla="*/ 239078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8"/>
                    </a:moveTo>
                    <a:cubicBezTo>
                      <a:pt x="0" y="239078"/>
                      <a:pt x="175260" y="245745"/>
                      <a:pt x="155257" y="953"/>
                    </a:cubicBezTo>
                    <a:lnTo>
                      <a:pt x="199072" y="0"/>
                    </a:lnTo>
                    <a:cubicBezTo>
                      <a:pt x="199072" y="0"/>
                      <a:pt x="212408" y="240983"/>
                      <a:pt x="952" y="294323"/>
                    </a:cubicBezTo>
                    <a:lnTo>
                      <a:pt x="0" y="2390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 190"/>
              <p:cNvSpPr/>
              <p:nvPr/>
            </p:nvSpPr>
            <p:spPr>
              <a:xfrm>
                <a:off x="3741419" y="1663065"/>
                <a:ext cx="199239" cy="294322"/>
              </a:xfrm>
              <a:custGeom>
                <a:avLst/>
                <a:gdLst>
                  <a:gd name="connsiteX0" fmla="*/ 0 w 199239"/>
                  <a:gd name="connsiteY0" fmla="*/ 239077 h 294322"/>
                  <a:gd name="connsiteX1" fmla="*/ 155257 w 199239"/>
                  <a:gd name="connsiteY1" fmla="*/ 952 h 294322"/>
                  <a:gd name="connsiteX2" fmla="*/ 199072 w 199239"/>
                  <a:gd name="connsiteY2" fmla="*/ 0 h 294322"/>
                  <a:gd name="connsiteX3" fmla="*/ 952 w 199239"/>
                  <a:gd name="connsiteY3" fmla="*/ 294322 h 294322"/>
                  <a:gd name="connsiteX4" fmla="*/ 0 w 199239"/>
                  <a:gd name="connsiteY4" fmla="*/ 239077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7"/>
                    </a:moveTo>
                    <a:cubicBezTo>
                      <a:pt x="0" y="239077"/>
                      <a:pt x="175260" y="245745"/>
                      <a:pt x="155257" y="952"/>
                    </a:cubicBezTo>
                    <a:lnTo>
                      <a:pt x="199072" y="0"/>
                    </a:lnTo>
                    <a:cubicBezTo>
                      <a:pt x="199072" y="0"/>
                      <a:pt x="212408" y="240982"/>
                      <a:pt x="952" y="294322"/>
                    </a:cubicBezTo>
                    <a:lnTo>
                      <a:pt x="0" y="23907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 191"/>
              <p:cNvSpPr/>
              <p:nvPr/>
            </p:nvSpPr>
            <p:spPr>
              <a:xfrm>
                <a:off x="3216962" y="326204"/>
                <a:ext cx="488947" cy="660283"/>
              </a:xfrm>
              <a:custGeom>
                <a:avLst/>
                <a:gdLst>
                  <a:gd name="connsiteX0" fmla="*/ 230135 w 488947"/>
                  <a:gd name="connsiteY0" fmla="*/ 659633 h 660283"/>
                  <a:gd name="connsiteX1" fmla="*/ 462545 w 488947"/>
                  <a:gd name="connsiteY1" fmla="*/ 491993 h 660283"/>
                  <a:gd name="connsiteX2" fmla="*/ 379677 w 488947"/>
                  <a:gd name="connsiteY2" fmla="*/ 37650 h 660283"/>
                  <a:gd name="connsiteX3" fmla="*/ 20585 w 488947"/>
                  <a:gd name="connsiteY3" fmla="*/ 155760 h 660283"/>
                  <a:gd name="connsiteX4" fmla="*/ 230135 w 488947"/>
                  <a:gd name="connsiteY4" fmla="*/ 659633 h 660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8947" h="660283">
                    <a:moveTo>
                      <a:pt x="230135" y="659633"/>
                    </a:moveTo>
                    <a:cubicBezTo>
                      <a:pt x="334910" y="652013"/>
                      <a:pt x="423492" y="617723"/>
                      <a:pt x="462545" y="491993"/>
                    </a:cubicBezTo>
                    <a:cubicBezTo>
                      <a:pt x="501597" y="366263"/>
                      <a:pt x="513980" y="130043"/>
                      <a:pt x="379677" y="37650"/>
                    </a:cubicBezTo>
                    <a:cubicBezTo>
                      <a:pt x="246327" y="-54742"/>
                      <a:pt x="57732" y="37650"/>
                      <a:pt x="20585" y="155760"/>
                    </a:cubicBezTo>
                    <a:cubicBezTo>
                      <a:pt x="-15610" y="273870"/>
                      <a:pt x="-33708" y="678683"/>
                      <a:pt x="230135" y="659633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 192"/>
              <p:cNvSpPr/>
              <p:nvPr/>
            </p:nvSpPr>
            <p:spPr>
              <a:xfrm>
                <a:off x="3871574" y="708915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 193"/>
              <p:cNvSpPr/>
              <p:nvPr/>
            </p:nvSpPr>
            <p:spPr>
              <a:xfrm>
                <a:off x="3242924" y="1171830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4118451" y="4450079"/>
              <a:ext cx="707707" cy="256222"/>
              <a:chOff x="4083366" y="2517457"/>
              <a:chExt cx="707707" cy="256222"/>
            </a:xfrm>
          </p:grpSpPr>
          <p:sp>
            <p:nvSpPr>
              <p:cNvPr id="52" name="任意多边形 196"/>
              <p:cNvSpPr/>
              <p:nvPr/>
            </p:nvSpPr>
            <p:spPr>
              <a:xfrm>
                <a:off x="4195762" y="2517457"/>
                <a:ext cx="510540" cy="255270"/>
              </a:xfrm>
              <a:custGeom>
                <a:avLst/>
                <a:gdLst>
                  <a:gd name="connsiteX0" fmla="*/ 255270 w 510540"/>
                  <a:gd name="connsiteY0" fmla="*/ 0 h 255270"/>
                  <a:gd name="connsiteX1" fmla="*/ 0 w 510540"/>
                  <a:gd name="connsiteY1" fmla="*/ 255270 h 255270"/>
                  <a:gd name="connsiteX2" fmla="*/ 510540 w 510540"/>
                  <a:gd name="connsiteY2" fmla="*/ 255270 h 255270"/>
                  <a:gd name="connsiteX3" fmla="*/ 255270 w 510540"/>
                  <a:gd name="connsiteY3" fmla="*/ 0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0540" h="255270">
                    <a:moveTo>
                      <a:pt x="255270" y="0"/>
                    </a:moveTo>
                    <a:cubicBezTo>
                      <a:pt x="114300" y="0"/>
                      <a:pt x="0" y="114300"/>
                      <a:pt x="0" y="255270"/>
                    </a:cubicBezTo>
                    <a:lnTo>
                      <a:pt x="510540" y="255270"/>
                    </a:lnTo>
                    <a:cubicBezTo>
                      <a:pt x="510540" y="114300"/>
                      <a:pt x="396240" y="0"/>
                      <a:pt x="255270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 197"/>
              <p:cNvSpPr/>
              <p:nvPr/>
            </p:nvSpPr>
            <p:spPr>
              <a:xfrm>
                <a:off x="4083366" y="2619375"/>
                <a:ext cx="307657" cy="154305"/>
              </a:xfrm>
              <a:custGeom>
                <a:avLst/>
                <a:gdLst>
                  <a:gd name="connsiteX0" fmla="*/ 154305 w 307657"/>
                  <a:gd name="connsiteY0" fmla="*/ 0 h 154305"/>
                  <a:gd name="connsiteX1" fmla="*/ 0 w 307657"/>
                  <a:gd name="connsiteY1" fmla="*/ 154305 h 154305"/>
                  <a:gd name="connsiteX2" fmla="*/ 307658 w 307657"/>
                  <a:gd name="connsiteY2" fmla="*/ 154305 h 154305"/>
                  <a:gd name="connsiteX3" fmla="*/ 154305 w 307657"/>
                  <a:gd name="connsiteY3" fmla="*/ 0 h 154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7657" h="154305">
                    <a:moveTo>
                      <a:pt x="154305" y="0"/>
                    </a:moveTo>
                    <a:cubicBezTo>
                      <a:pt x="69533" y="0"/>
                      <a:pt x="0" y="68580"/>
                      <a:pt x="0" y="154305"/>
                    </a:cubicBezTo>
                    <a:lnTo>
                      <a:pt x="307658" y="154305"/>
                    </a:lnTo>
                    <a:cubicBezTo>
                      <a:pt x="307658" y="68580"/>
                      <a:pt x="239078" y="0"/>
                      <a:pt x="15430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 198"/>
              <p:cNvSpPr/>
              <p:nvPr/>
            </p:nvSpPr>
            <p:spPr>
              <a:xfrm>
                <a:off x="4277677" y="2664142"/>
                <a:ext cx="217169" cy="108584"/>
              </a:xfrm>
              <a:custGeom>
                <a:avLst/>
                <a:gdLst>
                  <a:gd name="connsiteX0" fmla="*/ 108585 w 217169"/>
                  <a:gd name="connsiteY0" fmla="*/ 0 h 108584"/>
                  <a:gd name="connsiteX1" fmla="*/ 0 w 217169"/>
                  <a:gd name="connsiteY1" fmla="*/ 108585 h 108584"/>
                  <a:gd name="connsiteX2" fmla="*/ 217170 w 217169"/>
                  <a:gd name="connsiteY2" fmla="*/ 108585 h 108584"/>
                  <a:gd name="connsiteX3" fmla="*/ 108585 w 217169"/>
                  <a:gd name="connsiteY3" fmla="*/ 0 h 108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7169" h="108584">
                    <a:moveTo>
                      <a:pt x="108585" y="0"/>
                    </a:moveTo>
                    <a:cubicBezTo>
                      <a:pt x="48577" y="0"/>
                      <a:pt x="0" y="48577"/>
                      <a:pt x="0" y="108585"/>
                    </a:cubicBezTo>
                    <a:lnTo>
                      <a:pt x="217170" y="108585"/>
                    </a:lnTo>
                    <a:cubicBezTo>
                      <a:pt x="217170" y="48577"/>
                      <a:pt x="168592" y="0"/>
                      <a:pt x="10858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 199"/>
              <p:cNvSpPr/>
              <p:nvPr/>
            </p:nvSpPr>
            <p:spPr>
              <a:xfrm>
                <a:off x="4589144" y="2671762"/>
                <a:ext cx="201929" cy="100965"/>
              </a:xfrm>
              <a:custGeom>
                <a:avLst/>
                <a:gdLst>
                  <a:gd name="connsiteX0" fmla="*/ 100965 w 201929"/>
                  <a:gd name="connsiteY0" fmla="*/ 0 h 100965"/>
                  <a:gd name="connsiteX1" fmla="*/ 0 w 201929"/>
                  <a:gd name="connsiteY1" fmla="*/ 100965 h 100965"/>
                  <a:gd name="connsiteX2" fmla="*/ 201930 w 201929"/>
                  <a:gd name="connsiteY2" fmla="*/ 100965 h 100965"/>
                  <a:gd name="connsiteX3" fmla="*/ 100965 w 201929"/>
                  <a:gd name="connsiteY3" fmla="*/ 0 h 100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1929" h="100965">
                    <a:moveTo>
                      <a:pt x="100965" y="0"/>
                    </a:moveTo>
                    <a:cubicBezTo>
                      <a:pt x="45720" y="0"/>
                      <a:pt x="0" y="44768"/>
                      <a:pt x="0" y="100965"/>
                    </a:cubicBezTo>
                    <a:lnTo>
                      <a:pt x="201930" y="100965"/>
                    </a:lnTo>
                    <a:cubicBezTo>
                      <a:pt x="201930" y="45720"/>
                      <a:pt x="157163" y="0"/>
                      <a:pt x="100965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7536022" y="4531994"/>
              <a:ext cx="482917" cy="174307"/>
              <a:chOff x="7500937" y="2599372"/>
              <a:chExt cx="482917" cy="174307"/>
            </a:xfrm>
          </p:grpSpPr>
          <p:sp>
            <p:nvSpPr>
              <p:cNvPr id="48" name="任意多边形 201"/>
              <p:cNvSpPr/>
              <p:nvPr/>
            </p:nvSpPr>
            <p:spPr>
              <a:xfrm>
                <a:off x="7578089" y="2599372"/>
                <a:ext cx="347662" cy="174307"/>
              </a:xfrm>
              <a:custGeom>
                <a:avLst/>
                <a:gdLst>
                  <a:gd name="connsiteX0" fmla="*/ 174308 w 347662"/>
                  <a:gd name="connsiteY0" fmla="*/ 0 h 174307"/>
                  <a:gd name="connsiteX1" fmla="*/ 0 w 347662"/>
                  <a:gd name="connsiteY1" fmla="*/ 174308 h 174307"/>
                  <a:gd name="connsiteX2" fmla="*/ 347662 w 347662"/>
                  <a:gd name="connsiteY2" fmla="*/ 174308 h 174307"/>
                  <a:gd name="connsiteX3" fmla="*/ 174308 w 347662"/>
                  <a:gd name="connsiteY3" fmla="*/ 0 h 17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7662" h="174307">
                    <a:moveTo>
                      <a:pt x="174308" y="0"/>
                    </a:moveTo>
                    <a:cubicBezTo>
                      <a:pt x="78105" y="0"/>
                      <a:pt x="0" y="78105"/>
                      <a:pt x="0" y="174308"/>
                    </a:cubicBezTo>
                    <a:lnTo>
                      <a:pt x="347662" y="174308"/>
                    </a:lnTo>
                    <a:cubicBezTo>
                      <a:pt x="347662" y="77153"/>
                      <a:pt x="269558" y="0"/>
                      <a:pt x="174308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 202"/>
              <p:cNvSpPr/>
              <p:nvPr/>
            </p:nvSpPr>
            <p:spPr>
              <a:xfrm>
                <a:off x="7500937" y="2667952"/>
                <a:ext cx="209550" cy="104775"/>
              </a:xfrm>
              <a:custGeom>
                <a:avLst/>
                <a:gdLst>
                  <a:gd name="connsiteX0" fmla="*/ 104775 w 209550"/>
                  <a:gd name="connsiteY0" fmla="*/ 0 h 104775"/>
                  <a:gd name="connsiteX1" fmla="*/ 0 w 209550"/>
                  <a:gd name="connsiteY1" fmla="*/ 104775 h 104775"/>
                  <a:gd name="connsiteX2" fmla="*/ 209550 w 209550"/>
                  <a:gd name="connsiteY2" fmla="*/ 104775 h 104775"/>
                  <a:gd name="connsiteX3" fmla="*/ 104775 w 209550"/>
                  <a:gd name="connsiteY3" fmla="*/ 0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50" h="104775">
                    <a:moveTo>
                      <a:pt x="104775" y="0"/>
                    </a:moveTo>
                    <a:cubicBezTo>
                      <a:pt x="46672" y="0"/>
                      <a:pt x="0" y="46672"/>
                      <a:pt x="0" y="104775"/>
                    </a:cubicBezTo>
                    <a:lnTo>
                      <a:pt x="209550" y="104775"/>
                    </a:lnTo>
                    <a:cubicBezTo>
                      <a:pt x="209550" y="47625"/>
                      <a:pt x="162877" y="0"/>
                      <a:pt x="10477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 203"/>
              <p:cNvSpPr/>
              <p:nvPr/>
            </p:nvSpPr>
            <p:spPr>
              <a:xfrm>
                <a:off x="7633334" y="2699384"/>
                <a:ext cx="147637" cy="74295"/>
              </a:xfrm>
              <a:custGeom>
                <a:avLst/>
                <a:gdLst>
                  <a:gd name="connsiteX0" fmla="*/ 74295 w 147637"/>
                  <a:gd name="connsiteY0" fmla="*/ 0 h 74295"/>
                  <a:gd name="connsiteX1" fmla="*/ 0 w 147637"/>
                  <a:gd name="connsiteY1" fmla="*/ 74295 h 74295"/>
                  <a:gd name="connsiteX2" fmla="*/ 147638 w 147637"/>
                  <a:gd name="connsiteY2" fmla="*/ 74295 h 74295"/>
                  <a:gd name="connsiteX3" fmla="*/ 74295 w 147637"/>
                  <a:gd name="connsiteY3" fmla="*/ 0 h 74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7637" h="74295">
                    <a:moveTo>
                      <a:pt x="74295" y="0"/>
                    </a:moveTo>
                    <a:cubicBezTo>
                      <a:pt x="33338" y="0"/>
                      <a:pt x="0" y="33338"/>
                      <a:pt x="0" y="74295"/>
                    </a:cubicBezTo>
                    <a:lnTo>
                      <a:pt x="147638" y="74295"/>
                    </a:lnTo>
                    <a:cubicBezTo>
                      <a:pt x="147638" y="32385"/>
                      <a:pt x="115252" y="0"/>
                      <a:pt x="7429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 204"/>
              <p:cNvSpPr/>
              <p:nvPr/>
            </p:nvSpPr>
            <p:spPr>
              <a:xfrm>
                <a:off x="7846694" y="2704147"/>
                <a:ext cx="137160" cy="68580"/>
              </a:xfrm>
              <a:custGeom>
                <a:avLst/>
                <a:gdLst>
                  <a:gd name="connsiteX0" fmla="*/ 68580 w 137160"/>
                  <a:gd name="connsiteY0" fmla="*/ 0 h 68580"/>
                  <a:gd name="connsiteX1" fmla="*/ 0 w 137160"/>
                  <a:gd name="connsiteY1" fmla="*/ 68580 h 68580"/>
                  <a:gd name="connsiteX2" fmla="*/ 137160 w 137160"/>
                  <a:gd name="connsiteY2" fmla="*/ 68580 h 68580"/>
                  <a:gd name="connsiteX3" fmla="*/ 68580 w 137160"/>
                  <a:gd name="connsiteY3" fmla="*/ 0 h 68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160" h="68580">
                    <a:moveTo>
                      <a:pt x="68580" y="0"/>
                    </a:moveTo>
                    <a:cubicBezTo>
                      <a:pt x="30480" y="0"/>
                      <a:pt x="0" y="30480"/>
                      <a:pt x="0" y="68580"/>
                    </a:cubicBezTo>
                    <a:lnTo>
                      <a:pt x="137160" y="68580"/>
                    </a:lnTo>
                    <a:cubicBezTo>
                      <a:pt x="137160" y="30480"/>
                      <a:pt x="105728" y="0"/>
                      <a:pt x="6858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4761389" y="3611879"/>
              <a:ext cx="647700" cy="1093470"/>
              <a:chOff x="4726304" y="1679257"/>
              <a:chExt cx="647700" cy="1093470"/>
            </a:xfrm>
          </p:grpSpPr>
          <p:sp>
            <p:nvSpPr>
              <p:cNvPr id="44" name="任意多边形 207"/>
              <p:cNvSpPr/>
              <p:nvPr/>
            </p:nvSpPr>
            <p:spPr>
              <a:xfrm>
                <a:off x="5007291" y="2360295"/>
                <a:ext cx="85725" cy="412432"/>
              </a:xfrm>
              <a:custGeom>
                <a:avLst/>
                <a:gdLst>
                  <a:gd name="connsiteX0" fmla="*/ 0 w 85725"/>
                  <a:gd name="connsiteY0" fmla="*/ 412433 h 412432"/>
                  <a:gd name="connsiteX1" fmla="*/ 85725 w 85725"/>
                  <a:gd name="connsiteY1" fmla="*/ 412433 h 412432"/>
                  <a:gd name="connsiteX2" fmla="*/ 75248 w 85725"/>
                  <a:gd name="connsiteY2" fmla="*/ 0 h 412432"/>
                  <a:gd name="connsiteX3" fmla="*/ 15240 w 85725"/>
                  <a:gd name="connsiteY3" fmla="*/ 0 h 412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5" h="412432">
                    <a:moveTo>
                      <a:pt x="0" y="412433"/>
                    </a:moveTo>
                    <a:lnTo>
                      <a:pt x="85725" y="412433"/>
                    </a:lnTo>
                    <a:lnTo>
                      <a:pt x="75248" y="0"/>
                    </a:lnTo>
                    <a:lnTo>
                      <a:pt x="1524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 208"/>
              <p:cNvSpPr/>
              <p:nvPr/>
            </p:nvSpPr>
            <p:spPr>
              <a:xfrm>
                <a:off x="5028246" y="2368867"/>
                <a:ext cx="172031" cy="227647"/>
              </a:xfrm>
              <a:custGeom>
                <a:avLst/>
                <a:gdLst>
                  <a:gd name="connsiteX0" fmla="*/ 953 w 172031"/>
                  <a:gd name="connsiteY0" fmla="*/ 180023 h 227647"/>
                  <a:gd name="connsiteX1" fmla="*/ 125730 w 172031"/>
                  <a:gd name="connsiteY1" fmla="*/ 0 h 227647"/>
                  <a:gd name="connsiteX2" fmla="*/ 170497 w 172031"/>
                  <a:gd name="connsiteY2" fmla="*/ 7620 h 227647"/>
                  <a:gd name="connsiteX3" fmla="*/ 0 w 172031"/>
                  <a:gd name="connsiteY3" fmla="*/ 227648 h 227647"/>
                  <a:gd name="connsiteX4" fmla="*/ 953 w 172031"/>
                  <a:gd name="connsiteY4" fmla="*/ 180023 h 227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2031" h="227647">
                    <a:moveTo>
                      <a:pt x="953" y="180023"/>
                    </a:moveTo>
                    <a:cubicBezTo>
                      <a:pt x="953" y="180023"/>
                      <a:pt x="172403" y="161925"/>
                      <a:pt x="125730" y="0"/>
                    </a:cubicBezTo>
                    <a:lnTo>
                      <a:pt x="170497" y="7620"/>
                    </a:lnTo>
                    <a:cubicBezTo>
                      <a:pt x="170497" y="7620"/>
                      <a:pt x="200025" y="164783"/>
                      <a:pt x="0" y="227648"/>
                    </a:cubicBezTo>
                    <a:lnTo>
                      <a:pt x="953" y="180023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 209"/>
              <p:cNvSpPr/>
              <p:nvPr/>
            </p:nvSpPr>
            <p:spPr>
              <a:xfrm>
                <a:off x="4907258" y="2329815"/>
                <a:ext cx="142896" cy="184784"/>
              </a:xfrm>
              <a:custGeom>
                <a:avLst/>
                <a:gdLst>
                  <a:gd name="connsiteX0" fmla="*/ 36216 w 142896"/>
                  <a:gd name="connsiteY0" fmla="*/ 12382 h 184784"/>
                  <a:gd name="connsiteX1" fmla="*/ 142896 w 142896"/>
                  <a:gd name="connsiteY1" fmla="*/ 152400 h 184784"/>
                  <a:gd name="connsiteX2" fmla="*/ 125751 w 142896"/>
                  <a:gd name="connsiteY2" fmla="*/ 184785 h 184784"/>
                  <a:gd name="connsiteX3" fmla="*/ 21 w 142896"/>
                  <a:gd name="connsiteY3" fmla="*/ 0 h 184784"/>
                  <a:gd name="connsiteX4" fmla="*/ 36216 w 142896"/>
                  <a:gd name="connsiteY4" fmla="*/ 12382 h 184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896" h="184784">
                    <a:moveTo>
                      <a:pt x="36216" y="12382"/>
                    </a:moveTo>
                    <a:cubicBezTo>
                      <a:pt x="36216" y="12382"/>
                      <a:pt x="7641" y="148590"/>
                      <a:pt x="142896" y="152400"/>
                    </a:cubicBezTo>
                    <a:lnTo>
                      <a:pt x="125751" y="184785"/>
                    </a:lnTo>
                    <a:cubicBezTo>
                      <a:pt x="125751" y="184785"/>
                      <a:pt x="-1884" y="168592"/>
                      <a:pt x="21" y="0"/>
                    </a:cubicBezTo>
                    <a:lnTo>
                      <a:pt x="36216" y="12382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 210"/>
              <p:cNvSpPr/>
              <p:nvPr/>
            </p:nvSpPr>
            <p:spPr>
              <a:xfrm>
                <a:off x="4726304" y="1679257"/>
                <a:ext cx="647700" cy="770572"/>
              </a:xfrm>
              <a:custGeom>
                <a:avLst/>
                <a:gdLst>
                  <a:gd name="connsiteX0" fmla="*/ 647700 w 647700"/>
                  <a:gd name="connsiteY0" fmla="*/ 425767 h 770572"/>
                  <a:gd name="connsiteX1" fmla="*/ 323850 w 647700"/>
                  <a:gd name="connsiteY1" fmla="*/ 770572 h 770572"/>
                  <a:gd name="connsiteX2" fmla="*/ 0 w 647700"/>
                  <a:gd name="connsiteY2" fmla="*/ 425767 h 770572"/>
                  <a:gd name="connsiteX3" fmla="*/ 323850 w 647700"/>
                  <a:gd name="connsiteY3" fmla="*/ 0 h 770572"/>
                  <a:gd name="connsiteX4" fmla="*/ 647700 w 647700"/>
                  <a:gd name="connsiteY4" fmla="*/ 425767 h 770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7700" h="770572">
                    <a:moveTo>
                      <a:pt x="647700" y="425767"/>
                    </a:moveTo>
                    <a:cubicBezTo>
                      <a:pt x="647700" y="661035"/>
                      <a:pt x="502920" y="770572"/>
                      <a:pt x="323850" y="770572"/>
                    </a:cubicBezTo>
                    <a:cubicBezTo>
                      <a:pt x="144780" y="770572"/>
                      <a:pt x="0" y="661988"/>
                      <a:pt x="0" y="425767"/>
                    </a:cubicBezTo>
                    <a:cubicBezTo>
                      <a:pt x="0" y="190500"/>
                      <a:pt x="144780" y="0"/>
                      <a:pt x="323850" y="0"/>
                    </a:cubicBezTo>
                    <a:cubicBezTo>
                      <a:pt x="502920" y="0"/>
                      <a:pt x="647700" y="190500"/>
                      <a:pt x="647700" y="425767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" name="组合 11"/>
            <p:cNvGrpSpPr/>
            <p:nvPr/>
          </p:nvGrpSpPr>
          <p:grpSpPr>
            <a:xfrm>
              <a:off x="6647339" y="4319587"/>
              <a:ext cx="757237" cy="386715"/>
              <a:chOff x="6612254" y="2386965"/>
              <a:chExt cx="757237" cy="386715"/>
            </a:xfrm>
          </p:grpSpPr>
          <p:sp>
            <p:nvSpPr>
              <p:cNvPr id="40" name="任意多边形 213"/>
              <p:cNvSpPr/>
              <p:nvPr/>
            </p:nvSpPr>
            <p:spPr>
              <a:xfrm>
                <a:off x="6612254" y="2611754"/>
                <a:ext cx="181927" cy="160972"/>
              </a:xfrm>
              <a:custGeom>
                <a:avLst/>
                <a:gdLst>
                  <a:gd name="connsiteX0" fmla="*/ 181927 w 181927"/>
                  <a:gd name="connsiteY0" fmla="*/ 18098 h 160972"/>
                  <a:gd name="connsiteX1" fmla="*/ 178117 w 181927"/>
                  <a:gd name="connsiteY1" fmla="*/ 4763 h 160972"/>
                  <a:gd name="connsiteX2" fmla="*/ 147638 w 181927"/>
                  <a:gd name="connsiteY2" fmla="*/ 0 h 160972"/>
                  <a:gd name="connsiteX3" fmla="*/ 0 w 181927"/>
                  <a:gd name="connsiteY3" fmla="*/ 160973 h 160972"/>
                  <a:gd name="connsiteX4" fmla="*/ 87630 w 181927"/>
                  <a:gd name="connsiteY4" fmla="*/ 160973 h 160972"/>
                  <a:gd name="connsiteX5" fmla="*/ 181927 w 181927"/>
                  <a:gd name="connsiteY5" fmla="*/ 18098 h 160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1927" h="160972">
                    <a:moveTo>
                      <a:pt x="181927" y="18098"/>
                    </a:moveTo>
                    <a:cubicBezTo>
                      <a:pt x="180975" y="14288"/>
                      <a:pt x="179070" y="9525"/>
                      <a:pt x="178117" y="4763"/>
                    </a:cubicBezTo>
                    <a:cubicBezTo>
                      <a:pt x="168592" y="1905"/>
                      <a:pt x="158115" y="0"/>
                      <a:pt x="147638" y="0"/>
                    </a:cubicBezTo>
                    <a:cubicBezTo>
                      <a:pt x="79057" y="0"/>
                      <a:pt x="20002" y="67627"/>
                      <a:pt x="0" y="160973"/>
                    </a:cubicBezTo>
                    <a:lnTo>
                      <a:pt x="87630" y="160973"/>
                    </a:lnTo>
                    <a:cubicBezTo>
                      <a:pt x="112395" y="103823"/>
                      <a:pt x="144780" y="55245"/>
                      <a:pt x="181927" y="180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 214"/>
              <p:cNvSpPr/>
              <p:nvPr/>
            </p:nvSpPr>
            <p:spPr>
              <a:xfrm>
                <a:off x="6781799" y="2386965"/>
                <a:ext cx="313372" cy="340994"/>
              </a:xfrm>
              <a:custGeom>
                <a:avLst/>
                <a:gdLst>
                  <a:gd name="connsiteX0" fmla="*/ 170497 w 313372"/>
                  <a:gd name="connsiteY0" fmla="*/ 262890 h 340994"/>
                  <a:gd name="connsiteX1" fmla="*/ 313372 w 313372"/>
                  <a:gd name="connsiteY1" fmla="*/ 131445 h 340994"/>
                  <a:gd name="connsiteX2" fmla="*/ 166688 w 313372"/>
                  <a:gd name="connsiteY2" fmla="*/ 0 h 340994"/>
                  <a:gd name="connsiteX3" fmla="*/ 0 w 313372"/>
                  <a:gd name="connsiteY3" fmla="*/ 250507 h 340994"/>
                  <a:gd name="connsiteX4" fmla="*/ 9525 w 313372"/>
                  <a:gd name="connsiteY4" fmla="*/ 327660 h 340994"/>
                  <a:gd name="connsiteX5" fmla="*/ 13335 w 313372"/>
                  <a:gd name="connsiteY5" fmla="*/ 340995 h 340994"/>
                  <a:gd name="connsiteX6" fmla="*/ 170497 w 313372"/>
                  <a:gd name="connsiteY6" fmla="*/ 262890 h 340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3372" h="340994">
                    <a:moveTo>
                      <a:pt x="170497" y="262890"/>
                    </a:moveTo>
                    <a:cubicBezTo>
                      <a:pt x="204788" y="195263"/>
                      <a:pt x="255270" y="147638"/>
                      <a:pt x="313372" y="131445"/>
                    </a:cubicBezTo>
                    <a:cubicBezTo>
                      <a:pt x="284797" y="53340"/>
                      <a:pt x="230505" y="0"/>
                      <a:pt x="166688" y="0"/>
                    </a:cubicBezTo>
                    <a:cubicBezTo>
                      <a:pt x="74295" y="0"/>
                      <a:pt x="0" y="112395"/>
                      <a:pt x="0" y="250507"/>
                    </a:cubicBezTo>
                    <a:cubicBezTo>
                      <a:pt x="0" y="279082"/>
                      <a:pt x="2857" y="304800"/>
                      <a:pt x="9525" y="327660"/>
                    </a:cubicBezTo>
                    <a:cubicBezTo>
                      <a:pt x="10478" y="332422"/>
                      <a:pt x="12382" y="336232"/>
                      <a:pt x="13335" y="340995"/>
                    </a:cubicBezTo>
                    <a:cubicBezTo>
                      <a:pt x="58103" y="295275"/>
                      <a:pt x="112395" y="267652"/>
                      <a:pt x="170497" y="262890"/>
                    </a:cubicBezTo>
                    <a:close/>
                  </a:path>
                </a:pathLst>
              </a:custGeom>
              <a:solidFill>
                <a:srgbClr val="3BA24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 215"/>
              <p:cNvSpPr/>
              <p:nvPr/>
            </p:nvSpPr>
            <p:spPr>
              <a:xfrm>
                <a:off x="6952296" y="2413634"/>
                <a:ext cx="417195" cy="359092"/>
              </a:xfrm>
              <a:custGeom>
                <a:avLst/>
                <a:gdLst>
                  <a:gd name="connsiteX0" fmla="*/ 0 w 417195"/>
                  <a:gd name="connsiteY0" fmla="*/ 138113 h 359092"/>
                  <a:gd name="connsiteX1" fmla="*/ 18097 w 417195"/>
                  <a:gd name="connsiteY1" fmla="*/ 137160 h 359092"/>
                  <a:gd name="connsiteX2" fmla="*/ 287655 w 417195"/>
                  <a:gd name="connsiteY2" fmla="*/ 359093 h 359092"/>
                  <a:gd name="connsiteX3" fmla="*/ 417195 w 417195"/>
                  <a:gd name="connsiteY3" fmla="*/ 359093 h 359092"/>
                  <a:gd name="connsiteX4" fmla="*/ 417195 w 417195"/>
                  <a:gd name="connsiteY4" fmla="*/ 350520 h 359092"/>
                  <a:gd name="connsiteX5" fmla="*/ 184785 w 417195"/>
                  <a:gd name="connsiteY5" fmla="*/ 0 h 359092"/>
                  <a:gd name="connsiteX6" fmla="*/ 142875 w 417195"/>
                  <a:gd name="connsiteY6" fmla="*/ 5715 h 359092"/>
                  <a:gd name="connsiteX7" fmla="*/ 0 w 417195"/>
                  <a:gd name="connsiteY7" fmla="*/ 138113 h 359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195" h="359092">
                    <a:moveTo>
                      <a:pt x="0" y="138113"/>
                    </a:moveTo>
                    <a:cubicBezTo>
                      <a:pt x="5715" y="137160"/>
                      <a:pt x="11430" y="137160"/>
                      <a:pt x="18097" y="137160"/>
                    </a:cubicBezTo>
                    <a:cubicBezTo>
                      <a:pt x="131445" y="137160"/>
                      <a:pt x="230505" y="225743"/>
                      <a:pt x="287655" y="359093"/>
                    </a:cubicBezTo>
                    <a:lnTo>
                      <a:pt x="417195" y="359093"/>
                    </a:lnTo>
                    <a:cubicBezTo>
                      <a:pt x="417195" y="356235"/>
                      <a:pt x="417195" y="353378"/>
                      <a:pt x="417195" y="350520"/>
                    </a:cubicBezTo>
                    <a:cubicBezTo>
                      <a:pt x="417195" y="157163"/>
                      <a:pt x="313372" y="0"/>
                      <a:pt x="184785" y="0"/>
                    </a:cubicBezTo>
                    <a:cubicBezTo>
                      <a:pt x="170497" y="0"/>
                      <a:pt x="156210" y="1905"/>
                      <a:pt x="142875" y="5715"/>
                    </a:cubicBezTo>
                    <a:cubicBezTo>
                      <a:pt x="84772" y="22860"/>
                      <a:pt x="34290" y="70485"/>
                      <a:pt x="0" y="138113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 216"/>
              <p:cNvSpPr/>
              <p:nvPr/>
            </p:nvSpPr>
            <p:spPr>
              <a:xfrm>
                <a:off x="6699884" y="2550795"/>
                <a:ext cx="540067" cy="222885"/>
              </a:xfrm>
              <a:custGeom>
                <a:avLst/>
                <a:gdLst>
                  <a:gd name="connsiteX0" fmla="*/ 270510 w 540067"/>
                  <a:gd name="connsiteY0" fmla="*/ 0 h 222885"/>
                  <a:gd name="connsiteX1" fmla="*/ 252413 w 540067"/>
                  <a:gd name="connsiteY1" fmla="*/ 952 h 222885"/>
                  <a:gd name="connsiteX2" fmla="*/ 94297 w 540067"/>
                  <a:gd name="connsiteY2" fmla="*/ 79058 h 222885"/>
                  <a:gd name="connsiteX3" fmla="*/ 0 w 540067"/>
                  <a:gd name="connsiteY3" fmla="*/ 222885 h 222885"/>
                  <a:gd name="connsiteX4" fmla="*/ 540068 w 540067"/>
                  <a:gd name="connsiteY4" fmla="*/ 222885 h 222885"/>
                  <a:gd name="connsiteX5" fmla="*/ 270510 w 540067"/>
                  <a:gd name="connsiteY5" fmla="*/ 0 h 222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0067" h="222885">
                    <a:moveTo>
                      <a:pt x="270510" y="0"/>
                    </a:moveTo>
                    <a:cubicBezTo>
                      <a:pt x="264795" y="0"/>
                      <a:pt x="258128" y="0"/>
                      <a:pt x="252413" y="952"/>
                    </a:cubicBezTo>
                    <a:cubicBezTo>
                      <a:pt x="194310" y="5715"/>
                      <a:pt x="140970" y="34290"/>
                      <a:pt x="94297" y="79058"/>
                    </a:cubicBezTo>
                    <a:cubicBezTo>
                      <a:pt x="56197" y="116205"/>
                      <a:pt x="24765" y="164783"/>
                      <a:pt x="0" y="222885"/>
                    </a:cubicBezTo>
                    <a:lnTo>
                      <a:pt x="540068" y="222885"/>
                    </a:lnTo>
                    <a:cubicBezTo>
                      <a:pt x="482918" y="88583"/>
                      <a:pt x="383858" y="0"/>
                      <a:pt x="27051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8914289" y="4138612"/>
              <a:ext cx="578168" cy="567690"/>
              <a:chOff x="8879204" y="2205990"/>
              <a:chExt cx="578168" cy="567690"/>
            </a:xfrm>
          </p:grpSpPr>
          <p:grpSp>
            <p:nvGrpSpPr>
              <p:cNvPr id="28" name="组合 27"/>
              <p:cNvGrpSpPr/>
              <p:nvPr/>
            </p:nvGrpSpPr>
            <p:grpSpPr>
              <a:xfrm>
                <a:off x="8879204" y="2205990"/>
                <a:ext cx="342900" cy="567690"/>
                <a:chOff x="8879204" y="2205990"/>
                <a:chExt cx="342900" cy="567690"/>
              </a:xfrm>
            </p:grpSpPr>
            <p:sp>
              <p:nvSpPr>
                <p:cNvPr id="34" name="任意多边形 220"/>
                <p:cNvSpPr/>
                <p:nvPr/>
              </p:nvSpPr>
              <p:spPr>
                <a:xfrm>
                  <a:off x="9023984" y="2238375"/>
                  <a:ext cx="60007" cy="535305"/>
                </a:xfrm>
                <a:custGeom>
                  <a:avLst/>
                  <a:gdLst>
                    <a:gd name="connsiteX0" fmla="*/ 60007 w 60007"/>
                    <a:gd name="connsiteY0" fmla="*/ 535305 h 535305"/>
                    <a:gd name="connsiteX1" fmla="*/ 0 w 60007"/>
                    <a:gd name="connsiteY1" fmla="*/ 535305 h 535305"/>
                    <a:gd name="connsiteX2" fmla="*/ 20955 w 60007"/>
                    <a:gd name="connsiteY2" fmla="*/ 0 h 535305"/>
                    <a:gd name="connsiteX3" fmla="*/ 39052 w 60007"/>
                    <a:gd name="connsiteY3" fmla="*/ 0 h 535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007" h="535305">
                      <a:moveTo>
                        <a:pt x="60007" y="535305"/>
                      </a:moveTo>
                      <a:lnTo>
                        <a:pt x="0" y="535305"/>
                      </a:lnTo>
                      <a:lnTo>
                        <a:pt x="20955" y="0"/>
                      </a:lnTo>
                      <a:lnTo>
                        <a:pt x="39052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35" name="组合 34"/>
                <p:cNvGrpSpPr/>
                <p:nvPr/>
              </p:nvGrpSpPr>
              <p:grpSpPr>
                <a:xfrm>
                  <a:off x="8879204" y="2205990"/>
                  <a:ext cx="342900" cy="567690"/>
                  <a:chOff x="8879204" y="2205990"/>
                  <a:chExt cx="342900" cy="567690"/>
                </a:xfrm>
              </p:grpSpPr>
              <p:sp>
                <p:nvSpPr>
                  <p:cNvPr id="36" name="任意多边形 222"/>
                  <p:cNvSpPr/>
                  <p:nvPr/>
                </p:nvSpPr>
                <p:spPr>
                  <a:xfrm>
                    <a:off x="8879204" y="2546984"/>
                    <a:ext cx="342900" cy="226695"/>
                  </a:xfrm>
                  <a:custGeom>
                    <a:avLst/>
                    <a:gdLst>
                      <a:gd name="connsiteX0" fmla="*/ 170497 w 342900"/>
                      <a:gd name="connsiteY0" fmla="*/ 0 h 226695"/>
                      <a:gd name="connsiteX1" fmla="*/ 0 w 342900"/>
                      <a:gd name="connsiteY1" fmla="*/ 226695 h 226695"/>
                      <a:gd name="connsiteX2" fmla="*/ 171450 w 342900"/>
                      <a:gd name="connsiteY2" fmla="*/ 226695 h 226695"/>
                      <a:gd name="connsiteX3" fmla="*/ 342900 w 342900"/>
                      <a:gd name="connsiteY3" fmla="*/ 226695 h 2266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42900" h="226695">
                        <a:moveTo>
                          <a:pt x="170497" y="0"/>
                        </a:moveTo>
                        <a:lnTo>
                          <a:pt x="0" y="226695"/>
                        </a:lnTo>
                        <a:lnTo>
                          <a:pt x="171450" y="226695"/>
                        </a:lnTo>
                        <a:lnTo>
                          <a:pt x="342900" y="226695"/>
                        </a:lnTo>
                        <a:close/>
                      </a:path>
                    </a:pathLst>
                  </a:custGeom>
                  <a:solidFill>
                    <a:srgbClr val="006738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7" name="任意多边形 223"/>
                  <p:cNvSpPr/>
                  <p:nvPr/>
                </p:nvSpPr>
                <p:spPr>
                  <a:xfrm>
                    <a:off x="8893492" y="2415540"/>
                    <a:ext cx="313372" cy="191452"/>
                  </a:xfrm>
                  <a:custGeom>
                    <a:avLst/>
                    <a:gdLst>
                      <a:gd name="connsiteX0" fmla="*/ 155257 w 313372"/>
                      <a:gd name="connsiteY0" fmla="*/ 0 h 191452"/>
                      <a:gd name="connsiteX1" fmla="*/ 0 w 313372"/>
                      <a:gd name="connsiteY1" fmla="*/ 191452 h 191452"/>
                      <a:gd name="connsiteX2" fmla="*/ 156210 w 313372"/>
                      <a:gd name="connsiteY2" fmla="*/ 191452 h 191452"/>
                      <a:gd name="connsiteX3" fmla="*/ 313372 w 313372"/>
                      <a:gd name="connsiteY3" fmla="*/ 191452 h 1914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13372" h="191452">
                        <a:moveTo>
                          <a:pt x="155257" y="0"/>
                        </a:moveTo>
                        <a:lnTo>
                          <a:pt x="0" y="191452"/>
                        </a:lnTo>
                        <a:lnTo>
                          <a:pt x="156210" y="191452"/>
                        </a:lnTo>
                        <a:lnTo>
                          <a:pt x="313372" y="191452"/>
                        </a:lnTo>
                        <a:close/>
                      </a:path>
                    </a:pathLst>
                  </a:custGeom>
                  <a:solidFill>
                    <a:srgbClr val="029344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8" name="任意多边形 224"/>
                  <p:cNvSpPr/>
                  <p:nvPr/>
                </p:nvSpPr>
                <p:spPr>
                  <a:xfrm>
                    <a:off x="8904922" y="2303145"/>
                    <a:ext cx="288607" cy="163829"/>
                  </a:xfrm>
                  <a:custGeom>
                    <a:avLst/>
                    <a:gdLst>
                      <a:gd name="connsiteX0" fmla="*/ 143827 w 288607"/>
                      <a:gd name="connsiteY0" fmla="*/ 0 h 163829"/>
                      <a:gd name="connsiteX1" fmla="*/ 0 w 288607"/>
                      <a:gd name="connsiteY1" fmla="*/ 163830 h 163829"/>
                      <a:gd name="connsiteX2" fmla="*/ 144780 w 288607"/>
                      <a:gd name="connsiteY2" fmla="*/ 163830 h 163829"/>
                      <a:gd name="connsiteX3" fmla="*/ 288607 w 288607"/>
                      <a:gd name="connsiteY3" fmla="*/ 163830 h 1638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88607" h="163829">
                        <a:moveTo>
                          <a:pt x="143827" y="0"/>
                        </a:moveTo>
                        <a:lnTo>
                          <a:pt x="0" y="163830"/>
                        </a:lnTo>
                        <a:lnTo>
                          <a:pt x="144780" y="163830"/>
                        </a:lnTo>
                        <a:lnTo>
                          <a:pt x="288607" y="163830"/>
                        </a:lnTo>
                        <a:close/>
                      </a:path>
                    </a:pathLst>
                  </a:custGeom>
                  <a:solidFill>
                    <a:srgbClr val="6EB13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9" name="任意多边形 225"/>
                  <p:cNvSpPr/>
                  <p:nvPr/>
                </p:nvSpPr>
                <p:spPr>
                  <a:xfrm>
                    <a:off x="8915399" y="2205990"/>
                    <a:ext cx="266700" cy="140969"/>
                  </a:xfrm>
                  <a:custGeom>
                    <a:avLst/>
                    <a:gdLst>
                      <a:gd name="connsiteX0" fmla="*/ 132398 w 266700"/>
                      <a:gd name="connsiteY0" fmla="*/ 0 h 140969"/>
                      <a:gd name="connsiteX1" fmla="*/ 0 w 266700"/>
                      <a:gd name="connsiteY1" fmla="*/ 140970 h 140969"/>
                      <a:gd name="connsiteX2" fmla="*/ 133350 w 266700"/>
                      <a:gd name="connsiteY2" fmla="*/ 140970 h 140969"/>
                      <a:gd name="connsiteX3" fmla="*/ 266700 w 266700"/>
                      <a:gd name="connsiteY3" fmla="*/ 140970 h 1409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66700" h="140969">
                        <a:moveTo>
                          <a:pt x="132398" y="0"/>
                        </a:moveTo>
                        <a:lnTo>
                          <a:pt x="0" y="140970"/>
                        </a:lnTo>
                        <a:lnTo>
                          <a:pt x="133350" y="140970"/>
                        </a:lnTo>
                        <a:lnTo>
                          <a:pt x="266700" y="140970"/>
                        </a:lnTo>
                        <a:close/>
                      </a:path>
                    </a:pathLst>
                  </a:custGeom>
                  <a:solidFill>
                    <a:srgbClr val="92C33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29" name="组合 28"/>
              <p:cNvGrpSpPr/>
              <p:nvPr/>
            </p:nvGrpSpPr>
            <p:grpSpPr>
              <a:xfrm>
                <a:off x="9019222" y="2615565"/>
                <a:ext cx="438150" cy="158115"/>
                <a:chOff x="9019222" y="2615565"/>
                <a:chExt cx="438150" cy="158115"/>
              </a:xfrm>
            </p:grpSpPr>
            <p:sp>
              <p:nvSpPr>
                <p:cNvPr id="30" name="任意多边形 228"/>
                <p:cNvSpPr/>
                <p:nvPr/>
              </p:nvSpPr>
              <p:spPr>
                <a:xfrm>
                  <a:off x="9088754" y="2615565"/>
                  <a:ext cx="317182" cy="158115"/>
                </a:xfrm>
                <a:custGeom>
                  <a:avLst/>
                  <a:gdLst>
                    <a:gd name="connsiteX0" fmla="*/ 158115 w 317182"/>
                    <a:gd name="connsiteY0" fmla="*/ 0 h 158115"/>
                    <a:gd name="connsiteX1" fmla="*/ 0 w 317182"/>
                    <a:gd name="connsiteY1" fmla="*/ 158115 h 158115"/>
                    <a:gd name="connsiteX2" fmla="*/ 317182 w 317182"/>
                    <a:gd name="connsiteY2" fmla="*/ 158115 h 158115"/>
                    <a:gd name="connsiteX3" fmla="*/ 158115 w 317182"/>
                    <a:gd name="connsiteY3" fmla="*/ 0 h 1581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7182" h="158115">
                      <a:moveTo>
                        <a:pt x="158115" y="0"/>
                      </a:moveTo>
                      <a:cubicBezTo>
                        <a:pt x="70485" y="0"/>
                        <a:pt x="0" y="70485"/>
                        <a:pt x="0" y="158115"/>
                      </a:cubicBezTo>
                      <a:lnTo>
                        <a:pt x="317182" y="158115"/>
                      </a:lnTo>
                      <a:cubicBezTo>
                        <a:pt x="317182" y="70485"/>
                        <a:pt x="245745" y="0"/>
                        <a:pt x="158115" y="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1" name="任意多边形 229"/>
                <p:cNvSpPr/>
                <p:nvPr/>
              </p:nvSpPr>
              <p:spPr>
                <a:xfrm>
                  <a:off x="9019222" y="2677477"/>
                  <a:ext cx="190500" cy="95250"/>
                </a:xfrm>
                <a:custGeom>
                  <a:avLst/>
                  <a:gdLst>
                    <a:gd name="connsiteX0" fmla="*/ 95250 w 190500"/>
                    <a:gd name="connsiteY0" fmla="*/ 0 h 95250"/>
                    <a:gd name="connsiteX1" fmla="*/ 0 w 190500"/>
                    <a:gd name="connsiteY1" fmla="*/ 95250 h 95250"/>
                    <a:gd name="connsiteX2" fmla="*/ 190500 w 190500"/>
                    <a:gd name="connsiteY2" fmla="*/ 95250 h 95250"/>
                    <a:gd name="connsiteX3" fmla="*/ 95250 w 190500"/>
                    <a:gd name="connsiteY3" fmla="*/ 0 h 95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0500" h="95250">
                      <a:moveTo>
                        <a:pt x="95250" y="0"/>
                      </a:moveTo>
                      <a:cubicBezTo>
                        <a:pt x="42863" y="0"/>
                        <a:pt x="0" y="42863"/>
                        <a:pt x="0" y="95250"/>
                      </a:cubicBezTo>
                      <a:lnTo>
                        <a:pt x="190500" y="95250"/>
                      </a:lnTo>
                      <a:cubicBezTo>
                        <a:pt x="190500" y="42863"/>
                        <a:pt x="148590" y="0"/>
                        <a:pt x="95250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2" name="任意多边形 230"/>
                <p:cNvSpPr/>
                <p:nvPr/>
              </p:nvSpPr>
              <p:spPr>
                <a:xfrm>
                  <a:off x="9139237" y="2706052"/>
                  <a:ext cx="134324" cy="67627"/>
                </a:xfrm>
                <a:custGeom>
                  <a:avLst/>
                  <a:gdLst>
                    <a:gd name="connsiteX0" fmla="*/ 67627 w 134324"/>
                    <a:gd name="connsiteY0" fmla="*/ 0 h 67627"/>
                    <a:gd name="connsiteX1" fmla="*/ 0 w 134324"/>
                    <a:gd name="connsiteY1" fmla="*/ 67628 h 67627"/>
                    <a:gd name="connsiteX2" fmla="*/ 134302 w 134324"/>
                    <a:gd name="connsiteY2" fmla="*/ 67628 h 67627"/>
                    <a:gd name="connsiteX3" fmla="*/ 67627 w 134324"/>
                    <a:gd name="connsiteY3" fmla="*/ 0 h 67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4324" h="67627">
                      <a:moveTo>
                        <a:pt x="67627" y="0"/>
                      </a:moveTo>
                      <a:cubicBezTo>
                        <a:pt x="30480" y="0"/>
                        <a:pt x="0" y="30480"/>
                        <a:pt x="0" y="67628"/>
                      </a:cubicBezTo>
                      <a:lnTo>
                        <a:pt x="134302" y="67628"/>
                      </a:lnTo>
                      <a:cubicBezTo>
                        <a:pt x="135255" y="30480"/>
                        <a:pt x="104775" y="0"/>
                        <a:pt x="67627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3" name="任意多边形 231"/>
                <p:cNvSpPr/>
                <p:nvPr/>
              </p:nvSpPr>
              <p:spPr>
                <a:xfrm>
                  <a:off x="9332594" y="2710815"/>
                  <a:ext cx="124777" cy="62865"/>
                </a:xfrm>
                <a:custGeom>
                  <a:avLst/>
                  <a:gdLst>
                    <a:gd name="connsiteX0" fmla="*/ 62865 w 124777"/>
                    <a:gd name="connsiteY0" fmla="*/ 0 h 62865"/>
                    <a:gd name="connsiteX1" fmla="*/ 0 w 124777"/>
                    <a:gd name="connsiteY1" fmla="*/ 62865 h 62865"/>
                    <a:gd name="connsiteX2" fmla="*/ 124778 w 124777"/>
                    <a:gd name="connsiteY2" fmla="*/ 62865 h 62865"/>
                    <a:gd name="connsiteX3" fmla="*/ 62865 w 124777"/>
                    <a:gd name="connsiteY3" fmla="*/ 0 h 62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4777" h="62865">
                      <a:moveTo>
                        <a:pt x="62865" y="0"/>
                      </a:moveTo>
                      <a:cubicBezTo>
                        <a:pt x="28575" y="0"/>
                        <a:pt x="0" y="27622"/>
                        <a:pt x="0" y="62865"/>
                      </a:cubicBezTo>
                      <a:lnTo>
                        <a:pt x="124778" y="62865"/>
                      </a:lnTo>
                      <a:cubicBezTo>
                        <a:pt x="124778" y="27622"/>
                        <a:pt x="97155" y="0"/>
                        <a:pt x="62865" y="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4" name="组合 13"/>
            <p:cNvGrpSpPr/>
            <p:nvPr/>
          </p:nvGrpSpPr>
          <p:grpSpPr>
            <a:xfrm>
              <a:off x="2772569" y="4065269"/>
              <a:ext cx="704850" cy="641032"/>
              <a:chOff x="2737484" y="2132647"/>
              <a:chExt cx="704850" cy="641032"/>
            </a:xfrm>
          </p:grpSpPr>
          <p:sp>
            <p:nvSpPr>
              <p:cNvPr id="15" name="任意多边形 233"/>
              <p:cNvSpPr/>
              <p:nvPr/>
            </p:nvSpPr>
            <p:spPr>
              <a:xfrm>
                <a:off x="2987992" y="2646045"/>
                <a:ext cx="340058" cy="127635"/>
              </a:xfrm>
              <a:custGeom>
                <a:avLst/>
                <a:gdLst>
                  <a:gd name="connsiteX0" fmla="*/ 250508 w 340058"/>
                  <a:gd name="connsiteY0" fmla="*/ 37148 h 127635"/>
                  <a:gd name="connsiteX1" fmla="*/ 221933 w 340058"/>
                  <a:gd name="connsiteY1" fmla="*/ 41910 h 127635"/>
                  <a:gd name="connsiteX2" fmla="*/ 127635 w 340058"/>
                  <a:gd name="connsiteY2" fmla="*/ 0 h 127635"/>
                  <a:gd name="connsiteX3" fmla="*/ 0 w 340058"/>
                  <a:gd name="connsiteY3" fmla="*/ 127635 h 127635"/>
                  <a:gd name="connsiteX4" fmla="*/ 160020 w 340058"/>
                  <a:gd name="connsiteY4" fmla="*/ 127635 h 127635"/>
                  <a:gd name="connsiteX5" fmla="*/ 254318 w 340058"/>
                  <a:gd name="connsiteY5" fmla="*/ 127635 h 127635"/>
                  <a:gd name="connsiteX6" fmla="*/ 340043 w 340058"/>
                  <a:gd name="connsiteY6" fmla="*/ 127635 h 127635"/>
                  <a:gd name="connsiteX7" fmla="*/ 250508 w 340058"/>
                  <a:gd name="connsiteY7" fmla="*/ 37148 h 127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0058" h="127635">
                    <a:moveTo>
                      <a:pt x="250508" y="37148"/>
                    </a:moveTo>
                    <a:cubicBezTo>
                      <a:pt x="240030" y="37148"/>
                      <a:pt x="230505" y="39052"/>
                      <a:pt x="221933" y="41910"/>
                    </a:cubicBezTo>
                    <a:cubicBezTo>
                      <a:pt x="198120" y="16192"/>
                      <a:pt x="164783" y="0"/>
                      <a:pt x="127635" y="0"/>
                    </a:cubicBezTo>
                    <a:cubicBezTo>
                      <a:pt x="57150" y="0"/>
                      <a:pt x="0" y="57150"/>
                      <a:pt x="0" y="127635"/>
                    </a:cubicBezTo>
                    <a:lnTo>
                      <a:pt x="160020" y="127635"/>
                    </a:lnTo>
                    <a:lnTo>
                      <a:pt x="254318" y="127635"/>
                    </a:lnTo>
                    <a:lnTo>
                      <a:pt x="340043" y="127635"/>
                    </a:lnTo>
                    <a:cubicBezTo>
                      <a:pt x="340995" y="77152"/>
                      <a:pt x="300038" y="37148"/>
                      <a:pt x="250508" y="37148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6" name="组合 15"/>
              <p:cNvGrpSpPr/>
              <p:nvPr/>
            </p:nvGrpSpPr>
            <p:grpSpPr>
              <a:xfrm>
                <a:off x="2737484" y="2132647"/>
                <a:ext cx="704850" cy="640080"/>
                <a:chOff x="2737484" y="2132647"/>
                <a:chExt cx="704850" cy="640080"/>
              </a:xfrm>
            </p:grpSpPr>
            <p:sp>
              <p:nvSpPr>
                <p:cNvPr id="18" name="任意多边形 235"/>
                <p:cNvSpPr/>
                <p:nvPr/>
              </p:nvSpPr>
              <p:spPr>
                <a:xfrm>
                  <a:off x="3063239" y="2425065"/>
                  <a:ext cx="49530" cy="347662"/>
                </a:xfrm>
                <a:custGeom>
                  <a:avLst/>
                  <a:gdLst>
                    <a:gd name="connsiteX0" fmla="*/ 0 w 49530"/>
                    <a:gd name="connsiteY0" fmla="*/ 347663 h 347662"/>
                    <a:gd name="connsiteX1" fmla="*/ 49530 w 49530"/>
                    <a:gd name="connsiteY1" fmla="*/ 347663 h 347662"/>
                    <a:gd name="connsiteX2" fmla="*/ 43815 w 49530"/>
                    <a:gd name="connsiteY2" fmla="*/ 0 h 347662"/>
                    <a:gd name="connsiteX3" fmla="*/ 8573 w 49530"/>
                    <a:gd name="connsiteY3" fmla="*/ 0 h 347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9530" h="347662">
                      <a:moveTo>
                        <a:pt x="0" y="347663"/>
                      </a:moveTo>
                      <a:lnTo>
                        <a:pt x="49530" y="347663"/>
                      </a:lnTo>
                      <a:lnTo>
                        <a:pt x="43815" y="0"/>
                      </a:lnTo>
                      <a:lnTo>
                        <a:pt x="8573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" name="任意多边形 236"/>
                <p:cNvSpPr/>
                <p:nvPr/>
              </p:nvSpPr>
              <p:spPr>
                <a:xfrm>
                  <a:off x="3097529" y="2373629"/>
                  <a:ext cx="150866" cy="200025"/>
                </a:xfrm>
                <a:custGeom>
                  <a:avLst/>
                  <a:gdLst>
                    <a:gd name="connsiteX0" fmla="*/ 952 w 150866"/>
                    <a:gd name="connsiteY0" fmla="*/ 158115 h 200025"/>
                    <a:gd name="connsiteX1" fmla="*/ 110490 w 150866"/>
                    <a:gd name="connsiteY1" fmla="*/ 0 h 200025"/>
                    <a:gd name="connsiteX2" fmla="*/ 149543 w 150866"/>
                    <a:gd name="connsiteY2" fmla="*/ 6667 h 200025"/>
                    <a:gd name="connsiteX3" fmla="*/ 0 w 150866"/>
                    <a:gd name="connsiteY3" fmla="*/ 200025 h 200025"/>
                    <a:gd name="connsiteX4" fmla="*/ 952 w 150866"/>
                    <a:gd name="connsiteY4" fmla="*/ 158115 h 200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66" h="200025">
                      <a:moveTo>
                        <a:pt x="952" y="158115"/>
                      </a:moveTo>
                      <a:cubicBezTo>
                        <a:pt x="952" y="158115"/>
                        <a:pt x="152400" y="141923"/>
                        <a:pt x="110490" y="0"/>
                      </a:cubicBezTo>
                      <a:lnTo>
                        <a:pt x="149543" y="6667"/>
                      </a:lnTo>
                      <a:cubicBezTo>
                        <a:pt x="149543" y="6667"/>
                        <a:pt x="175260" y="144780"/>
                        <a:pt x="0" y="200025"/>
                      </a:cubicBezTo>
                      <a:lnTo>
                        <a:pt x="952" y="158115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" name="任意多边形 237"/>
                <p:cNvSpPr/>
                <p:nvPr/>
              </p:nvSpPr>
              <p:spPr>
                <a:xfrm>
                  <a:off x="2968935" y="2326957"/>
                  <a:ext cx="120973" cy="156209"/>
                </a:xfrm>
                <a:custGeom>
                  <a:avLst/>
                  <a:gdLst>
                    <a:gd name="connsiteX0" fmla="*/ 30486 w 120973"/>
                    <a:gd name="connsiteY0" fmla="*/ 10477 h 156209"/>
                    <a:gd name="connsiteX1" fmla="*/ 120974 w 120973"/>
                    <a:gd name="connsiteY1" fmla="*/ 128588 h 156209"/>
                    <a:gd name="connsiteX2" fmla="*/ 106686 w 120973"/>
                    <a:gd name="connsiteY2" fmla="*/ 156210 h 156209"/>
                    <a:gd name="connsiteX3" fmla="*/ 6 w 120973"/>
                    <a:gd name="connsiteY3" fmla="*/ 0 h 156209"/>
                    <a:gd name="connsiteX4" fmla="*/ 30486 w 120973"/>
                    <a:gd name="connsiteY4" fmla="*/ 10477 h 156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0973" h="156209">
                      <a:moveTo>
                        <a:pt x="30486" y="10477"/>
                      </a:moveTo>
                      <a:cubicBezTo>
                        <a:pt x="30486" y="10477"/>
                        <a:pt x="5721" y="125730"/>
                        <a:pt x="120974" y="128588"/>
                      </a:cubicBezTo>
                      <a:lnTo>
                        <a:pt x="106686" y="156210"/>
                      </a:lnTo>
                      <a:cubicBezTo>
                        <a:pt x="106686" y="156210"/>
                        <a:pt x="-946" y="141922"/>
                        <a:pt x="6" y="0"/>
                      </a:cubicBezTo>
                      <a:lnTo>
                        <a:pt x="30486" y="10477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" name="任意多边形 238"/>
                <p:cNvSpPr/>
                <p:nvPr/>
              </p:nvSpPr>
              <p:spPr>
                <a:xfrm>
                  <a:off x="2832734" y="2346959"/>
                  <a:ext cx="167640" cy="97818"/>
                </a:xfrm>
                <a:custGeom>
                  <a:avLst/>
                  <a:gdLst>
                    <a:gd name="connsiteX0" fmla="*/ 32385 w 167640"/>
                    <a:gd name="connsiteY0" fmla="*/ 0 h 97818"/>
                    <a:gd name="connsiteX1" fmla="*/ 167640 w 167640"/>
                    <a:gd name="connsiteY1" fmla="*/ 61913 h 97818"/>
                    <a:gd name="connsiteX2" fmla="*/ 167640 w 167640"/>
                    <a:gd name="connsiteY2" fmla="*/ 92393 h 97818"/>
                    <a:gd name="connsiteX3" fmla="*/ 0 w 167640"/>
                    <a:gd name="connsiteY3" fmla="*/ 4763 h 97818"/>
                    <a:gd name="connsiteX4" fmla="*/ 32385 w 167640"/>
                    <a:gd name="connsiteY4" fmla="*/ 0 h 97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97818">
                      <a:moveTo>
                        <a:pt x="32385" y="0"/>
                      </a:moveTo>
                      <a:cubicBezTo>
                        <a:pt x="32385" y="0"/>
                        <a:pt x="64770" y="112395"/>
                        <a:pt x="167640" y="61913"/>
                      </a:cubicBezTo>
                      <a:lnTo>
                        <a:pt x="167640" y="92393"/>
                      </a:lnTo>
                      <a:cubicBezTo>
                        <a:pt x="167640" y="92393"/>
                        <a:pt x="65723" y="130493"/>
                        <a:pt x="0" y="4763"/>
                      </a:cubicBezTo>
                      <a:lnTo>
                        <a:pt x="32385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" name="任意多边形 239"/>
                <p:cNvSpPr/>
                <p:nvPr/>
              </p:nvSpPr>
              <p:spPr>
                <a:xfrm>
                  <a:off x="3191826" y="2437447"/>
                  <a:ext cx="179070" cy="91847"/>
                </a:xfrm>
                <a:custGeom>
                  <a:avLst/>
                  <a:gdLst>
                    <a:gd name="connsiteX0" fmla="*/ 18098 w 179070"/>
                    <a:gd name="connsiteY0" fmla="*/ 56198 h 91847"/>
                    <a:gd name="connsiteX1" fmla="*/ 156210 w 179070"/>
                    <a:gd name="connsiteY1" fmla="*/ 0 h 91847"/>
                    <a:gd name="connsiteX2" fmla="*/ 179070 w 179070"/>
                    <a:gd name="connsiteY2" fmla="*/ 20955 h 91847"/>
                    <a:gd name="connsiteX3" fmla="*/ 0 w 179070"/>
                    <a:gd name="connsiteY3" fmla="*/ 82868 h 91847"/>
                    <a:gd name="connsiteX4" fmla="*/ 18098 w 179070"/>
                    <a:gd name="connsiteY4" fmla="*/ 56198 h 91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9070" h="91847">
                      <a:moveTo>
                        <a:pt x="18098" y="56198"/>
                      </a:moveTo>
                      <a:cubicBezTo>
                        <a:pt x="18098" y="56198"/>
                        <a:pt x="122873" y="109538"/>
                        <a:pt x="156210" y="0"/>
                      </a:cubicBezTo>
                      <a:lnTo>
                        <a:pt x="179070" y="20955"/>
                      </a:lnTo>
                      <a:cubicBezTo>
                        <a:pt x="179070" y="20955"/>
                        <a:pt x="137160" y="121920"/>
                        <a:pt x="0" y="82868"/>
                      </a:cubicBezTo>
                      <a:lnTo>
                        <a:pt x="18098" y="56198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" name="任意多边形 240"/>
                <p:cNvSpPr/>
                <p:nvPr/>
              </p:nvSpPr>
              <p:spPr>
                <a:xfrm>
                  <a:off x="2895599" y="2154554"/>
                  <a:ext cx="180975" cy="215265"/>
                </a:xfrm>
                <a:custGeom>
                  <a:avLst/>
                  <a:gdLst>
                    <a:gd name="connsiteX0" fmla="*/ 180975 w 180975"/>
                    <a:gd name="connsiteY0" fmla="*/ 119063 h 215265"/>
                    <a:gd name="connsiteX1" fmla="*/ 90488 w 180975"/>
                    <a:gd name="connsiteY1" fmla="*/ 215265 h 215265"/>
                    <a:gd name="connsiteX2" fmla="*/ 0 w 180975"/>
                    <a:gd name="connsiteY2" fmla="*/ 119063 h 215265"/>
                    <a:gd name="connsiteX3" fmla="*/ 90488 w 180975"/>
                    <a:gd name="connsiteY3" fmla="*/ 0 h 215265"/>
                    <a:gd name="connsiteX4" fmla="*/ 180975 w 180975"/>
                    <a:gd name="connsiteY4" fmla="*/ 119063 h 215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975" h="215265">
                      <a:moveTo>
                        <a:pt x="180975" y="119063"/>
                      </a:moveTo>
                      <a:cubicBezTo>
                        <a:pt x="180975" y="184785"/>
                        <a:pt x="140970" y="215265"/>
                        <a:pt x="90488" y="215265"/>
                      </a:cubicBezTo>
                      <a:cubicBezTo>
                        <a:pt x="40957" y="215265"/>
                        <a:pt x="0" y="184785"/>
                        <a:pt x="0" y="119063"/>
                      </a:cubicBezTo>
                      <a:cubicBezTo>
                        <a:pt x="0" y="53340"/>
                        <a:pt x="40005" y="0"/>
                        <a:pt x="90488" y="0"/>
                      </a:cubicBezTo>
                      <a:cubicBezTo>
                        <a:pt x="140018" y="0"/>
                        <a:pt x="180975" y="53340"/>
                        <a:pt x="180975" y="11906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" name="任意多边形 241"/>
                <p:cNvSpPr/>
                <p:nvPr/>
              </p:nvSpPr>
              <p:spPr>
                <a:xfrm>
                  <a:off x="2737484" y="2132647"/>
                  <a:ext cx="217170" cy="259080"/>
                </a:xfrm>
                <a:custGeom>
                  <a:avLst/>
                  <a:gdLst>
                    <a:gd name="connsiteX0" fmla="*/ 217170 w 217170"/>
                    <a:gd name="connsiteY0" fmla="*/ 142875 h 259080"/>
                    <a:gd name="connsiteX1" fmla="*/ 108585 w 217170"/>
                    <a:gd name="connsiteY1" fmla="*/ 259080 h 259080"/>
                    <a:gd name="connsiteX2" fmla="*/ 0 w 217170"/>
                    <a:gd name="connsiteY2" fmla="*/ 142875 h 259080"/>
                    <a:gd name="connsiteX3" fmla="*/ 108585 w 217170"/>
                    <a:gd name="connsiteY3" fmla="*/ 0 h 259080"/>
                    <a:gd name="connsiteX4" fmla="*/ 217170 w 217170"/>
                    <a:gd name="connsiteY4" fmla="*/ 142875 h 259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70" h="259080">
                      <a:moveTo>
                        <a:pt x="217170" y="142875"/>
                      </a:moveTo>
                      <a:cubicBezTo>
                        <a:pt x="217170" y="221933"/>
                        <a:pt x="168593" y="259080"/>
                        <a:pt x="108585" y="259080"/>
                      </a:cubicBezTo>
                      <a:cubicBezTo>
                        <a:pt x="48578" y="259080"/>
                        <a:pt x="0" y="222885"/>
                        <a:pt x="0" y="142875"/>
                      </a:cubicBezTo>
                      <a:cubicBezTo>
                        <a:pt x="0" y="63818"/>
                        <a:pt x="48578" y="0"/>
                        <a:pt x="108585" y="0"/>
                      </a:cubicBezTo>
                      <a:cubicBezTo>
                        <a:pt x="168593" y="0"/>
                        <a:pt x="217170" y="63818"/>
                        <a:pt x="217170" y="142875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5" name="任意多边形 242"/>
                <p:cNvSpPr/>
                <p:nvPr/>
              </p:nvSpPr>
              <p:spPr>
                <a:xfrm>
                  <a:off x="3108959" y="2200275"/>
                  <a:ext cx="217169" cy="218122"/>
                </a:xfrm>
                <a:custGeom>
                  <a:avLst/>
                  <a:gdLst>
                    <a:gd name="connsiteX0" fmla="*/ 217170 w 217169"/>
                    <a:gd name="connsiteY0" fmla="*/ 120967 h 218122"/>
                    <a:gd name="connsiteX1" fmla="*/ 108585 w 217169"/>
                    <a:gd name="connsiteY1" fmla="*/ 218122 h 218122"/>
                    <a:gd name="connsiteX2" fmla="*/ 0 w 217169"/>
                    <a:gd name="connsiteY2" fmla="*/ 120967 h 218122"/>
                    <a:gd name="connsiteX3" fmla="*/ 108585 w 217169"/>
                    <a:gd name="connsiteY3" fmla="*/ 0 h 218122"/>
                    <a:gd name="connsiteX4" fmla="*/ 217170 w 217169"/>
                    <a:gd name="connsiteY4" fmla="*/ 120967 h 218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69" h="218122">
                      <a:moveTo>
                        <a:pt x="217170" y="120967"/>
                      </a:moveTo>
                      <a:cubicBezTo>
                        <a:pt x="217170" y="187642"/>
                        <a:pt x="168592" y="218122"/>
                        <a:pt x="108585" y="218122"/>
                      </a:cubicBezTo>
                      <a:cubicBezTo>
                        <a:pt x="48577" y="218122"/>
                        <a:pt x="0" y="187642"/>
                        <a:pt x="0" y="120967"/>
                      </a:cubicBezTo>
                      <a:cubicBezTo>
                        <a:pt x="0" y="54292"/>
                        <a:pt x="48577" y="0"/>
                        <a:pt x="108585" y="0"/>
                      </a:cubicBezTo>
                      <a:cubicBezTo>
                        <a:pt x="168592" y="0"/>
                        <a:pt x="217170" y="54292"/>
                        <a:pt x="217170" y="120967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6" name="任意多边形 243"/>
                <p:cNvSpPr/>
                <p:nvPr/>
              </p:nvSpPr>
              <p:spPr>
                <a:xfrm>
                  <a:off x="3016567" y="2297429"/>
                  <a:ext cx="142875" cy="144779"/>
                </a:xfrm>
                <a:custGeom>
                  <a:avLst/>
                  <a:gdLst>
                    <a:gd name="connsiteX0" fmla="*/ 142875 w 142875"/>
                    <a:gd name="connsiteY0" fmla="*/ 80010 h 144779"/>
                    <a:gd name="connsiteX1" fmla="*/ 71438 w 142875"/>
                    <a:gd name="connsiteY1" fmla="*/ 144780 h 144779"/>
                    <a:gd name="connsiteX2" fmla="*/ 0 w 142875"/>
                    <a:gd name="connsiteY2" fmla="*/ 80010 h 144779"/>
                    <a:gd name="connsiteX3" fmla="*/ 71438 w 142875"/>
                    <a:gd name="connsiteY3" fmla="*/ 0 h 144779"/>
                    <a:gd name="connsiteX4" fmla="*/ 142875 w 142875"/>
                    <a:gd name="connsiteY4" fmla="*/ 80010 h 144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875" h="144779">
                      <a:moveTo>
                        <a:pt x="142875" y="80010"/>
                      </a:moveTo>
                      <a:cubicBezTo>
                        <a:pt x="142875" y="123825"/>
                        <a:pt x="110490" y="144780"/>
                        <a:pt x="71438" y="144780"/>
                      </a:cubicBezTo>
                      <a:cubicBezTo>
                        <a:pt x="31432" y="144780"/>
                        <a:pt x="0" y="124778"/>
                        <a:pt x="0" y="80010"/>
                      </a:cubicBezTo>
                      <a:cubicBezTo>
                        <a:pt x="0" y="36195"/>
                        <a:pt x="32385" y="0"/>
                        <a:pt x="71438" y="0"/>
                      </a:cubicBezTo>
                      <a:cubicBezTo>
                        <a:pt x="110490" y="0"/>
                        <a:pt x="142875" y="36195"/>
                        <a:pt x="142875" y="8001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7" name="任意多边形 244"/>
                <p:cNvSpPr/>
                <p:nvPr/>
              </p:nvSpPr>
              <p:spPr>
                <a:xfrm>
                  <a:off x="3274694" y="2323147"/>
                  <a:ext cx="167640" cy="167640"/>
                </a:xfrm>
                <a:custGeom>
                  <a:avLst/>
                  <a:gdLst>
                    <a:gd name="connsiteX0" fmla="*/ 167640 w 167640"/>
                    <a:gd name="connsiteY0" fmla="*/ 92393 h 167640"/>
                    <a:gd name="connsiteX1" fmla="*/ 83820 w 167640"/>
                    <a:gd name="connsiteY1" fmla="*/ 167640 h 167640"/>
                    <a:gd name="connsiteX2" fmla="*/ 0 w 167640"/>
                    <a:gd name="connsiteY2" fmla="*/ 92393 h 167640"/>
                    <a:gd name="connsiteX3" fmla="*/ 83820 w 167640"/>
                    <a:gd name="connsiteY3" fmla="*/ 0 h 167640"/>
                    <a:gd name="connsiteX4" fmla="*/ 167640 w 167640"/>
                    <a:gd name="connsiteY4" fmla="*/ 92393 h 1676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167640">
                      <a:moveTo>
                        <a:pt x="167640" y="92393"/>
                      </a:moveTo>
                      <a:cubicBezTo>
                        <a:pt x="167640" y="143828"/>
                        <a:pt x="130493" y="167640"/>
                        <a:pt x="83820" y="167640"/>
                      </a:cubicBezTo>
                      <a:cubicBezTo>
                        <a:pt x="38100" y="167640"/>
                        <a:pt x="0" y="143828"/>
                        <a:pt x="0" y="92393"/>
                      </a:cubicBezTo>
                      <a:cubicBezTo>
                        <a:pt x="0" y="40958"/>
                        <a:pt x="37148" y="0"/>
                        <a:pt x="83820" y="0"/>
                      </a:cubicBezTo>
                      <a:cubicBezTo>
                        <a:pt x="129540" y="0"/>
                        <a:pt x="167640" y="40958"/>
                        <a:pt x="167640" y="9239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7" name="任意多边形 245"/>
              <p:cNvSpPr/>
              <p:nvPr/>
            </p:nvSpPr>
            <p:spPr>
              <a:xfrm>
                <a:off x="2830829" y="2681287"/>
                <a:ext cx="247650" cy="92392"/>
              </a:xfrm>
              <a:custGeom>
                <a:avLst/>
                <a:gdLst>
                  <a:gd name="connsiteX0" fmla="*/ 65723 w 247650"/>
                  <a:gd name="connsiteY0" fmla="*/ 26670 h 92392"/>
                  <a:gd name="connsiteX1" fmla="*/ 86677 w 247650"/>
                  <a:gd name="connsiteY1" fmla="*/ 30480 h 92392"/>
                  <a:gd name="connsiteX2" fmla="*/ 155258 w 247650"/>
                  <a:gd name="connsiteY2" fmla="*/ 0 h 92392"/>
                  <a:gd name="connsiteX3" fmla="*/ 247650 w 247650"/>
                  <a:gd name="connsiteY3" fmla="*/ 92393 h 92392"/>
                  <a:gd name="connsiteX4" fmla="*/ 130493 w 247650"/>
                  <a:gd name="connsiteY4" fmla="*/ 92393 h 92392"/>
                  <a:gd name="connsiteX5" fmla="*/ 61913 w 247650"/>
                  <a:gd name="connsiteY5" fmla="*/ 92393 h 92392"/>
                  <a:gd name="connsiteX6" fmla="*/ 0 w 247650"/>
                  <a:gd name="connsiteY6" fmla="*/ 92393 h 92392"/>
                  <a:gd name="connsiteX7" fmla="*/ 65723 w 247650"/>
                  <a:gd name="connsiteY7" fmla="*/ 26670 h 92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7650" h="92392">
                    <a:moveTo>
                      <a:pt x="65723" y="26670"/>
                    </a:moveTo>
                    <a:cubicBezTo>
                      <a:pt x="73343" y="26670"/>
                      <a:pt x="80010" y="27622"/>
                      <a:pt x="86677" y="30480"/>
                    </a:cubicBezTo>
                    <a:cubicBezTo>
                      <a:pt x="103823" y="11430"/>
                      <a:pt x="127635" y="0"/>
                      <a:pt x="155258" y="0"/>
                    </a:cubicBezTo>
                    <a:cubicBezTo>
                      <a:pt x="206693" y="0"/>
                      <a:pt x="247650" y="40957"/>
                      <a:pt x="247650" y="92393"/>
                    </a:cubicBezTo>
                    <a:lnTo>
                      <a:pt x="130493" y="92393"/>
                    </a:lnTo>
                    <a:lnTo>
                      <a:pt x="61913" y="92393"/>
                    </a:lnTo>
                    <a:lnTo>
                      <a:pt x="0" y="92393"/>
                    </a:lnTo>
                    <a:cubicBezTo>
                      <a:pt x="0" y="56197"/>
                      <a:pt x="29528" y="26670"/>
                      <a:pt x="65723" y="2667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pic>
        <p:nvPicPr>
          <p:cNvPr id="3" name="图片 2" descr="图示&#10;&#10;描述已自动生成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4" y="1130300"/>
            <a:ext cx="7107093" cy="3360890"/>
          </a:xfrm>
          <a:prstGeom prst="rect">
            <a:avLst/>
          </a:prstGeom>
        </p:spPr>
      </p:pic>
      <p:sp>
        <p:nvSpPr>
          <p:cNvPr id="87" name="文本框 86"/>
          <p:cNvSpPr txBox="1"/>
          <p:nvPr/>
        </p:nvSpPr>
        <p:spPr>
          <a:xfrm>
            <a:off x="692731" y="4525819"/>
            <a:ext cx="741435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Times New Roman" panose="02020603050405020304" pitchFamily="18" charset="0"/>
                <a:ea typeface="等线" panose="02010600030101010101" charset="-122"/>
              </a:rPr>
              <a:t>Activation function in Generator: </a:t>
            </a:r>
            <a:r>
              <a:rPr lang="en-US" altLang="zh-CN" dirty="0" err="1">
                <a:latin typeface="Times New Roman" panose="02020603050405020304" pitchFamily="18" charset="0"/>
                <a:ea typeface="等线" panose="02010600030101010101" charset="-122"/>
              </a:rPr>
              <a:t>PRelu</a:t>
            </a:r>
            <a:endParaRPr lang="en-US" altLang="zh-CN" dirty="0">
              <a:latin typeface="Times New Roman" panose="02020603050405020304" pitchFamily="18" charset="0"/>
              <a:ea typeface="等线" panose="02010600030101010101" charset="-122"/>
            </a:endParaRPr>
          </a:p>
          <a:p>
            <a:endParaRPr lang="en-US" altLang="zh-CN" dirty="0">
              <a:latin typeface="Times New Roman" panose="02020603050405020304" pitchFamily="18" charset="0"/>
              <a:ea typeface="等线" panose="02010600030101010101" charset="-122"/>
            </a:endParaRPr>
          </a:p>
          <a:p>
            <a:endParaRPr lang="en-US" altLang="zh-CN" dirty="0">
              <a:latin typeface="Times New Roman" panose="02020603050405020304" pitchFamily="18" charset="0"/>
              <a:ea typeface="等线" panose="02010600030101010101" charset="-122"/>
            </a:endParaRPr>
          </a:p>
          <a:p>
            <a:r>
              <a:rPr lang="en-US" altLang="zh-CN" dirty="0">
                <a:latin typeface="Times New Roman" panose="02020603050405020304" pitchFamily="18" charset="0"/>
                <a:ea typeface="等线" panose="02010600030101010101" charset="-122"/>
              </a:rPr>
              <a:t>Discriminator is a normal CNN binary classification model</a:t>
            </a:r>
          </a:p>
          <a:p>
            <a:r>
              <a:rPr lang="en-US" altLang="zh-CN" dirty="0">
                <a:latin typeface="Times New Roman" panose="02020603050405020304" pitchFamily="18" charset="0"/>
                <a:ea typeface="等线" panose="02010600030101010101" charset="-122"/>
              </a:rPr>
              <a:t>Activation function in Discriminator: </a:t>
            </a:r>
            <a:r>
              <a:rPr lang="en-US" altLang="zh-CN" dirty="0" err="1">
                <a:latin typeface="Times New Roman" panose="02020603050405020304" pitchFamily="18" charset="0"/>
                <a:ea typeface="等线" panose="02010600030101010101" charset="-122"/>
              </a:rPr>
              <a:t>LeakyRelu</a:t>
            </a:r>
            <a:endParaRPr lang="en-US" altLang="zh-CN" dirty="0">
              <a:latin typeface="Times New Roman" panose="02020603050405020304" pitchFamily="18" charset="0"/>
              <a:ea typeface="等线" panose="02010600030101010101" charset="-122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RGAN Result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7</a:t>
            </a:fld>
            <a:endParaRPr lang="zh-CN" altLang="en-US"/>
          </a:p>
        </p:txBody>
      </p:sp>
      <p:grpSp>
        <p:nvGrpSpPr>
          <p:cNvPr id="5" name="组合 4"/>
          <p:cNvGrpSpPr/>
          <p:nvPr/>
        </p:nvGrpSpPr>
        <p:grpSpPr>
          <a:xfrm>
            <a:off x="8358909" y="5477164"/>
            <a:ext cx="3719729" cy="1298762"/>
            <a:chOff x="2772569" y="2151697"/>
            <a:chExt cx="6719888" cy="2554605"/>
          </a:xfrm>
        </p:grpSpPr>
        <p:grpSp>
          <p:nvGrpSpPr>
            <p:cNvPr id="6" name="组合 5"/>
            <p:cNvGrpSpPr/>
            <p:nvPr/>
          </p:nvGrpSpPr>
          <p:grpSpPr>
            <a:xfrm>
              <a:off x="7873207" y="2151697"/>
              <a:ext cx="1093469" cy="2553652"/>
              <a:chOff x="7838122" y="219075"/>
              <a:chExt cx="1093469" cy="2553652"/>
            </a:xfrm>
          </p:grpSpPr>
          <p:sp>
            <p:nvSpPr>
              <p:cNvPr id="79" name="任意多边形 157"/>
              <p:cNvSpPr/>
              <p:nvPr/>
            </p:nvSpPr>
            <p:spPr>
              <a:xfrm>
                <a:off x="8309609" y="280987"/>
                <a:ext cx="151447" cy="2491740"/>
              </a:xfrm>
              <a:custGeom>
                <a:avLst/>
                <a:gdLst>
                  <a:gd name="connsiteX0" fmla="*/ 151447 w 151447"/>
                  <a:gd name="connsiteY0" fmla="*/ 2491740 h 2491740"/>
                  <a:gd name="connsiteX1" fmla="*/ 0 w 151447"/>
                  <a:gd name="connsiteY1" fmla="*/ 2491740 h 2491740"/>
                  <a:gd name="connsiteX2" fmla="*/ 52388 w 151447"/>
                  <a:gd name="connsiteY2" fmla="*/ 0 h 2491740"/>
                  <a:gd name="connsiteX3" fmla="*/ 99060 w 151447"/>
                  <a:gd name="connsiteY3" fmla="*/ 0 h 249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1447" h="2491740">
                    <a:moveTo>
                      <a:pt x="151447" y="2491740"/>
                    </a:moveTo>
                    <a:lnTo>
                      <a:pt x="0" y="2491740"/>
                    </a:lnTo>
                    <a:lnTo>
                      <a:pt x="52388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80" name="组合 79"/>
              <p:cNvGrpSpPr/>
              <p:nvPr/>
            </p:nvGrpSpPr>
            <p:grpSpPr>
              <a:xfrm>
                <a:off x="7838122" y="219075"/>
                <a:ext cx="1093469" cy="1788795"/>
                <a:chOff x="7838122" y="219075"/>
                <a:chExt cx="1093469" cy="1788795"/>
              </a:xfrm>
            </p:grpSpPr>
            <p:sp>
              <p:nvSpPr>
                <p:cNvPr id="81" name="任意多边形 159"/>
                <p:cNvSpPr/>
                <p:nvPr/>
              </p:nvSpPr>
              <p:spPr>
                <a:xfrm>
                  <a:off x="7838122" y="1418272"/>
                  <a:ext cx="1093469" cy="589597"/>
                </a:xfrm>
                <a:custGeom>
                  <a:avLst/>
                  <a:gdLst>
                    <a:gd name="connsiteX0" fmla="*/ 542925 w 1093469"/>
                    <a:gd name="connsiteY0" fmla="*/ 0 h 589597"/>
                    <a:gd name="connsiteX1" fmla="*/ 0 w 1093469"/>
                    <a:gd name="connsiteY1" fmla="*/ 589598 h 589597"/>
                    <a:gd name="connsiteX2" fmla="*/ 546735 w 1093469"/>
                    <a:gd name="connsiteY2" fmla="*/ 589598 h 589597"/>
                    <a:gd name="connsiteX3" fmla="*/ 1093470 w 1093469"/>
                    <a:gd name="connsiteY3" fmla="*/ 589598 h 589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93469" h="589597">
                      <a:moveTo>
                        <a:pt x="542925" y="0"/>
                      </a:moveTo>
                      <a:lnTo>
                        <a:pt x="0" y="589598"/>
                      </a:lnTo>
                      <a:lnTo>
                        <a:pt x="546735" y="589598"/>
                      </a:lnTo>
                      <a:lnTo>
                        <a:pt x="1093470" y="589598"/>
                      </a:ln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2" name="任意多边形 160"/>
                <p:cNvSpPr/>
                <p:nvPr/>
              </p:nvSpPr>
              <p:spPr>
                <a:xfrm>
                  <a:off x="7892414" y="1091564"/>
                  <a:ext cx="979170" cy="480060"/>
                </a:xfrm>
                <a:custGeom>
                  <a:avLst/>
                  <a:gdLst>
                    <a:gd name="connsiteX0" fmla="*/ 486728 w 979170"/>
                    <a:gd name="connsiteY0" fmla="*/ 0 h 480060"/>
                    <a:gd name="connsiteX1" fmla="*/ 0 w 979170"/>
                    <a:gd name="connsiteY1" fmla="*/ 480060 h 480060"/>
                    <a:gd name="connsiteX2" fmla="*/ 489585 w 979170"/>
                    <a:gd name="connsiteY2" fmla="*/ 480060 h 480060"/>
                    <a:gd name="connsiteX3" fmla="*/ 979170 w 979170"/>
                    <a:gd name="connsiteY3" fmla="*/ 480060 h 4800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9170" h="480060">
                      <a:moveTo>
                        <a:pt x="486728" y="0"/>
                      </a:moveTo>
                      <a:lnTo>
                        <a:pt x="0" y="480060"/>
                      </a:lnTo>
                      <a:lnTo>
                        <a:pt x="489585" y="480060"/>
                      </a:lnTo>
                      <a:lnTo>
                        <a:pt x="979170" y="480060"/>
                      </a:ln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3" name="任意多边形 161"/>
                <p:cNvSpPr/>
                <p:nvPr/>
              </p:nvSpPr>
              <p:spPr>
                <a:xfrm>
                  <a:off x="7937181" y="819150"/>
                  <a:ext cx="886777" cy="398145"/>
                </a:xfrm>
                <a:custGeom>
                  <a:avLst/>
                  <a:gdLst>
                    <a:gd name="connsiteX0" fmla="*/ 441007 w 886777"/>
                    <a:gd name="connsiteY0" fmla="*/ 0 h 398145"/>
                    <a:gd name="connsiteX1" fmla="*/ 0 w 886777"/>
                    <a:gd name="connsiteY1" fmla="*/ 398145 h 398145"/>
                    <a:gd name="connsiteX2" fmla="*/ 442913 w 886777"/>
                    <a:gd name="connsiteY2" fmla="*/ 398145 h 398145"/>
                    <a:gd name="connsiteX3" fmla="*/ 886778 w 886777"/>
                    <a:gd name="connsiteY3" fmla="*/ 398145 h 3981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86777" h="398145">
                      <a:moveTo>
                        <a:pt x="441007" y="0"/>
                      </a:moveTo>
                      <a:lnTo>
                        <a:pt x="0" y="398145"/>
                      </a:lnTo>
                      <a:lnTo>
                        <a:pt x="442913" y="398145"/>
                      </a:lnTo>
                      <a:lnTo>
                        <a:pt x="886778" y="398145"/>
                      </a:ln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4" name="任意多边形 162"/>
                <p:cNvSpPr/>
                <p:nvPr/>
              </p:nvSpPr>
              <p:spPr>
                <a:xfrm>
                  <a:off x="7973376" y="587692"/>
                  <a:ext cx="809625" cy="336232"/>
                </a:xfrm>
                <a:custGeom>
                  <a:avLst/>
                  <a:gdLst>
                    <a:gd name="connsiteX0" fmla="*/ 402908 w 809625"/>
                    <a:gd name="connsiteY0" fmla="*/ 0 h 336232"/>
                    <a:gd name="connsiteX1" fmla="*/ 0 w 809625"/>
                    <a:gd name="connsiteY1" fmla="*/ 336233 h 336232"/>
                    <a:gd name="connsiteX2" fmla="*/ 404813 w 809625"/>
                    <a:gd name="connsiteY2" fmla="*/ 336233 h 336232"/>
                    <a:gd name="connsiteX3" fmla="*/ 809625 w 809625"/>
                    <a:gd name="connsiteY3" fmla="*/ 336233 h 336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9625" h="336232">
                      <a:moveTo>
                        <a:pt x="402908" y="0"/>
                      </a:moveTo>
                      <a:lnTo>
                        <a:pt x="0" y="336233"/>
                      </a:lnTo>
                      <a:lnTo>
                        <a:pt x="404813" y="336233"/>
                      </a:lnTo>
                      <a:lnTo>
                        <a:pt x="809625" y="336233"/>
                      </a:lnTo>
                      <a:close/>
                    </a:path>
                  </a:pathLst>
                </a:custGeom>
                <a:solidFill>
                  <a:srgbClr val="45BC5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5" name="任意多边形 163"/>
                <p:cNvSpPr/>
                <p:nvPr/>
              </p:nvSpPr>
              <p:spPr>
                <a:xfrm>
                  <a:off x="8003856" y="390525"/>
                  <a:ext cx="745807" cy="286702"/>
                </a:xfrm>
                <a:custGeom>
                  <a:avLst/>
                  <a:gdLst>
                    <a:gd name="connsiteX0" fmla="*/ 371475 w 745807"/>
                    <a:gd name="connsiteY0" fmla="*/ 0 h 286702"/>
                    <a:gd name="connsiteX1" fmla="*/ 0 w 745807"/>
                    <a:gd name="connsiteY1" fmla="*/ 286703 h 286702"/>
                    <a:gd name="connsiteX2" fmla="*/ 373380 w 745807"/>
                    <a:gd name="connsiteY2" fmla="*/ 286703 h 286702"/>
                    <a:gd name="connsiteX3" fmla="*/ 745807 w 745807"/>
                    <a:gd name="connsiteY3" fmla="*/ 286703 h 286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5807" h="286702">
                      <a:moveTo>
                        <a:pt x="371475" y="0"/>
                      </a:moveTo>
                      <a:lnTo>
                        <a:pt x="0" y="286703"/>
                      </a:lnTo>
                      <a:lnTo>
                        <a:pt x="373380" y="286703"/>
                      </a:lnTo>
                      <a:lnTo>
                        <a:pt x="745807" y="286703"/>
                      </a:ln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6" name="任意多边形 164"/>
                <p:cNvSpPr/>
                <p:nvPr/>
              </p:nvSpPr>
              <p:spPr>
                <a:xfrm>
                  <a:off x="8030526" y="219075"/>
                  <a:ext cx="690562" cy="248602"/>
                </a:xfrm>
                <a:custGeom>
                  <a:avLst/>
                  <a:gdLst>
                    <a:gd name="connsiteX0" fmla="*/ 343853 w 690562"/>
                    <a:gd name="connsiteY0" fmla="*/ 0 h 248602"/>
                    <a:gd name="connsiteX1" fmla="*/ 0 w 690562"/>
                    <a:gd name="connsiteY1" fmla="*/ 248603 h 248602"/>
                    <a:gd name="connsiteX2" fmla="*/ 344805 w 690562"/>
                    <a:gd name="connsiteY2" fmla="*/ 248603 h 248602"/>
                    <a:gd name="connsiteX3" fmla="*/ 690563 w 690562"/>
                    <a:gd name="connsiteY3" fmla="*/ 248603 h 2486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0562" h="248602">
                      <a:moveTo>
                        <a:pt x="343853" y="0"/>
                      </a:moveTo>
                      <a:lnTo>
                        <a:pt x="0" y="248603"/>
                      </a:lnTo>
                      <a:lnTo>
                        <a:pt x="344805" y="248603"/>
                      </a:lnTo>
                      <a:lnTo>
                        <a:pt x="690563" y="248603"/>
                      </a:ln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7" name="组合 6"/>
            <p:cNvGrpSpPr/>
            <p:nvPr/>
          </p:nvGrpSpPr>
          <p:grpSpPr>
            <a:xfrm>
              <a:off x="5240497" y="2258376"/>
              <a:ext cx="1892617" cy="2446972"/>
              <a:chOff x="5205412" y="325754"/>
              <a:chExt cx="1892617" cy="2446972"/>
            </a:xfrm>
          </p:grpSpPr>
          <p:sp>
            <p:nvSpPr>
              <p:cNvPr id="67" name="任意多边形 168"/>
              <p:cNvSpPr/>
              <p:nvPr/>
            </p:nvSpPr>
            <p:spPr>
              <a:xfrm>
                <a:off x="6055042" y="425767"/>
                <a:ext cx="194309" cy="2346960"/>
              </a:xfrm>
              <a:custGeom>
                <a:avLst/>
                <a:gdLst>
                  <a:gd name="connsiteX0" fmla="*/ 194310 w 194309"/>
                  <a:gd name="connsiteY0" fmla="*/ 2346960 h 2346960"/>
                  <a:gd name="connsiteX1" fmla="*/ 0 w 194309"/>
                  <a:gd name="connsiteY1" fmla="*/ 2346960 h 2346960"/>
                  <a:gd name="connsiteX2" fmla="*/ 66675 w 194309"/>
                  <a:gd name="connsiteY2" fmla="*/ 0 h 2346960"/>
                  <a:gd name="connsiteX3" fmla="*/ 127635 w 194309"/>
                  <a:gd name="connsiteY3" fmla="*/ 0 h 2346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4309" h="2346960">
                    <a:moveTo>
                      <a:pt x="194310" y="2346960"/>
                    </a:moveTo>
                    <a:lnTo>
                      <a:pt x="0" y="2346960"/>
                    </a:lnTo>
                    <a:lnTo>
                      <a:pt x="66675" y="0"/>
                    </a:lnTo>
                    <a:lnTo>
                      <a:pt x="127635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8" name="组合 67"/>
              <p:cNvGrpSpPr/>
              <p:nvPr/>
            </p:nvGrpSpPr>
            <p:grpSpPr>
              <a:xfrm>
                <a:off x="5205412" y="325754"/>
                <a:ext cx="1892617" cy="1728787"/>
                <a:chOff x="5205412" y="325754"/>
                <a:chExt cx="1892617" cy="1728787"/>
              </a:xfrm>
            </p:grpSpPr>
            <p:sp>
              <p:nvSpPr>
                <p:cNvPr id="69" name="任意多边形 170"/>
                <p:cNvSpPr/>
                <p:nvPr/>
              </p:nvSpPr>
              <p:spPr>
                <a:xfrm>
                  <a:off x="5354954" y="596264"/>
                  <a:ext cx="741044" cy="741045"/>
                </a:xfrm>
                <a:custGeom>
                  <a:avLst/>
                  <a:gdLst>
                    <a:gd name="connsiteX0" fmla="*/ 741045 w 741044"/>
                    <a:gd name="connsiteY0" fmla="*/ 370523 h 741045"/>
                    <a:gd name="connsiteX1" fmla="*/ 370522 w 741044"/>
                    <a:gd name="connsiteY1" fmla="*/ 741045 h 741045"/>
                    <a:gd name="connsiteX2" fmla="*/ 0 w 741044"/>
                    <a:gd name="connsiteY2" fmla="*/ 370523 h 741045"/>
                    <a:gd name="connsiteX3" fmla="*/ 370522 w 741044"/>
                    <a:gd name="connsiteY3" fmla="*/ 0 h 741045"/>
                    <a:gd name="connsiteX4" fmla="*/ 741045 w 741044"/>
                    <a:gd name="connsiteY4" fmla="*/ 370523 h 741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1044" h="741045">
                      <a:moveTo>
                        <a:pt x="741045" y="370523"/>
                      </a:moveTo>
                      <a:cubicBezTo>
                        <a:pt x="741045" y="575310"/>
                        <a:pt x="575310" y="741045"/>
                        <a:pt x="370522" y="741045"/>
                      </a:cubicBezTo>
                      <a:cubicBezTo>
                        <a:pt x="165735" y="741045"/>
                        <a:pt x="0" y="575310"/>
                        <a:pt x="0" y="370523"/>
                      </a:cubicBezTo>
                      <a:cubicBezTo>
                        <a:pt x="0" y="165735"/>
                        <a:pt x="165735" y="0"/>
                        <a:pt x="370522" y="0"/>
                      </a:cubicBezTo>
                      <a:cubicBezTo>
                        <a:pt x="574357" y="0"/>
                        <a:pt x="741045" y="165735"/>
                        <a:pt x="741045" y="370523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0" name="任意多边形 171"/>
                <p:cNvSpPr/>
                <p:nvPr/>
              </p:nvSpPr>
              <p:spPr>
                <a:xfrm>
                  <a:off x="6587489" y="866769"/>
                  <a:ext cx="510540" cy="510545"/>
                </a:xfrm>
                <a:custGeom>
                  <a:avLst/>
                  <a:gdLst>
                    <a:gd name="connsiteX0" fmla="*/ 510540 w 510540"/>
                    <a:gd name="connsiteY0" fmla="*/ 255276 h 510545"/>
                    <a:gd name="connsiteX1" fmla="*/ 255270 w 510540"/>
                    <a:gd name="connsiteY1" fmla="*/ 510546 h 510545"/>
                    <a:gd name="connsiteX2" fmla="*/ 0 w 510540"/>
                    <a:gd name="connsiteY2" fmla="*/ 255276 h 510545"/>
                    <a:gd name="connsiteX3" fmla="*/ 255270 w 510540"/>
                    <a:gd name="connsiteY3" fmla="*/ 6 h 510545"/>
                    <a:gd name="connsiteX4" fmla="*/ 510540 w 510540"/>
                    <a:gd name="connsiteY4" fmla="*/ 255276 h 5105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0540" h="510545">
                      <a:moveTo>
                        <a:pt x="510540" y="255276"/>
                      </a:moveTo>
                      <a:cubicBezTo>
                        <a:pt x="510540" y="396246"/>
                        <a:pt x="396240" y="510546"/>
                        <a:pt x="255270" y="510546"/>
                      </a:cubicBezTo>
                      <a:cubicBezTo>
                        <a:pt x="114300" y="510546"/>
                        <a:pt x="0" y="396246"/>
                        <a:pt x="0" y="255276"/>
                      </a:cubicBezTo>
                      <a:cubicBezTo>
                        <a:pt x="0" y="114306"/>
                        <a:pt x="114300" y="6"/>
                        <a:pt x="255270" y="6"/>
                      </a:cubicBezTo>
                      <a:cubicBezTo>
                        <a:pt x="396240" y="-947"/>
                        <a:pt x="510540" y="114306"/>
                        <a:pt x="510540" y="255276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1" name="任意多边形 172"/>
                <p:cNvSpPr/>
                <p:nvPr/>
              </p:nvSpPr>
              <p:spPr>
                <a:xfrm>
                  <a:off x="5427344" y="545782"/>
                  <a:ext cx="1508760" cy="1508759"/>
                </a:xfrm>
                <a:custGeom>
                  <a:avLst/>
                  <a:gdLst>
                    <a:gd name="connsiteX0" fmla="*/ 1508760 w 1508760"/>
                    <a:gd name="connsiteY0" fmla="*/ 754380 h 1508759"/>
                    <a:gd name="connsiteX1" fmla="*/ 754380 w 1508760"/>
                    <a:gd name="connsiteY1" fmla="*/ 1508760 h 1508759"/>
                    <a:gd name="connsiteX2" fmla="*/ 0 w 1508760"/>
                    <a:gd name="connsiteY2" fmla="*/ 754380 h 1508759"/>
                    <a:gd name="connsiteX3" fmla="*/ 754380 w 1508760"/>
                    <a:gd name="connsiteY3" fmla="*/ 0 h 1508759"/>
                    <a:gd name="connsiteX4" fmla="*/ 1508760 w 1508760"/>
                    <a:gd name="connsiteY4" fmla="*/ 754380 h 1508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760" h="1508759">
                      <a:moveTo>
                        <a:pt x="1508760" y="754380"/>
                      </a:moveTo>
                      <a:cubicBezTo>
                        <a:pt x="1508760" y="1170623"/>
                        <a:pt x="1171575" y="1508760"/>
                        <a:pt x="754380" y="1508760"/>
                      </a:cubicBezTo>
                      <a:cubicBezTo>
                        <a:pt x="338138" y="1508760"/>
                        <a:pt x="0" y="1171575"/>
                        <a:pt x="0" y="754380"/>
                      </a:cubicBezTo>
                      <a:cubicBezTo>
                        <a:pt x="0" y="338138"/>
                        <a:pt x="337185" y="0"/>
                        <a:pt x="754380" y="0"/>
                      </a:cubicBezTo>
                      <a:cubicBezTo>
                        <a:pt x="1171575" y="953"/>
                        <a:pt x="1508760" y="338138"/>
                        <a:pt x="1508760" y="754380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2" name="任意多边形 173"/>
                <p:cNvSpPr/>
                <p:nvPr/>
              </p:nvSpPr>
              <p:spPr>
                <a:xfrm>
                  <a:off x="5205412" y="1026795"/>
                  <a:ext cx="798194" cy="798195"/>
                </a:xfrm>
                <a:custGeom>
                  <a:avLst/>
                  <a:gdLst>
                    <a:gd name="connsiteX0" fmla="*/ 798195 w 798194"/>
                    <a:gd name="connsiteY0" fmla="*/ 399097 h 798195"/>
                    <a:gd name="connsiteX1" fmla="*/ 399097 w 798194"/>
                    <a:gd name="connsiteY1" fmla="*/ 798195 h 798195"/>
                    <a:gd name="connsiteX2" fmla="*/ 0 w 798194"/>
                    <a:gd name="connsiteY2" fmla="*/ 399097 h 798195"/>
                    <a:gd name="connsiteX3" fmla="*/ 399097 w 798194"/>
                    <a:gd name="connsiteY3" fmla="*/ 0 h 798195"/>
                    <a:gd name="connsiteX4" fmla="*/ 798195 w 798194"/>
                    <a:gd name="connsiteY4" fmla="*/ 399097 h 798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98194" h="798195">
                      <a:moveTo>
                        <a:pt x="798195" y="399097"/>
                      </a:moveTo>
                      <a:cubicBezTo>
                        <a:pt x="798195" y="619125"/>
                        <a:pt x="619125" y="798195"/>
                        <a:pt x="399097" y="798195"/>
                      </a:cubicBezTo>
                      <a:cubicBezTo>
                        <a:pt x="179070" y="798195"/>
                        <a:pt x="0" y="619125"/>
                        <a:pt x="0" y="399097"/>
                      </a:cubicBezTo>
                      <a:cubicBezTo>
                        <a:pt x="0" y="179070"/>
                        <a:pt x="179070" y="0"/>
                        <a:pt x="399097" y="0"/>
                      </a:cubicBezTo>
                      <a:cubicBezTo>
                        <a:pt x="619125" y="0"/>
                        <a:pt x="798195" y="179070"/>
                        <a:pt x="798195" y="399097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3" name="任意多边形 174"/>
                <p:cNvSpPr/>
                <p:nvPr/>
              </p:nvSpPr>
              <p:spPr>
                <a:xfrm>
                  <a:off x="6276021" y="1425892"/>
                  <a:ext cx="609600" cy="609600"/>
                </a:xfrm>
                <a:custGeom>
                  <a:avLst/>
                  <a:gdLst>
                    <a:gd name="connsiteX0" fmla="*/ 609600 w 609600"/>
                    <a:gd name="connsiteY0" fmla="*/ 304800 h 609600"/>
                    <a:gd name="connsiteX1" fmla="*/ 304800 w 609600"/>
                    <a:gd name="connsiteY1" fmla="*/ 609600 h 609600"/>
                    <a:gd name="connsiteX2" fmla="*/ 0 w 609600"/>
                    <a:gd name="connsiteY2" fmla="*/ 304800 h 609600"/>
                    <a:gd name="connsiteX3" fmla="*/ 304800 w 609600"/>
                    <a:gd name="connsiteY3" fmla="*/ 0 h 609600"/>
                    <a:gd name="connsiteX4" fmla="*/ 609600 w 609600"/>
                    <a:gd name="connsiteY4" fmla="*/ 304800 h 609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9600" h="609600">
                      <a:moveTo>
                        <a:pt x="609600" y="304800"/>
                      </a:moveTo>
                      <a:cubicBezTo>
                        <a:pt x="609600" y="473392"/>
                        <a:pt x="473393" y="609600"/>
                        <a:pt x="304800" y="609600"/>
                      </a:cubicBezTo>
                      <a:cubicBezTo>
                        <a:pt x="136208" y="609600"/>
                        <a:pt x="0" y="473392"/>
                        <a:pt x="0" y="304800"/>
                      </a:cubicBezTo>
                      <a:cubicBezTo>
                        <a:pt x="0" y="136208"/>
                        <a:pt x="136208" y="0"/>
                        <a:pt x="304800" y="0"/>
                      </a:cubicBezTo>
                      <a:cubicBezTo>
                        <a:pt x="473393" y="0"/>
                        <a:pt x="609600" y="136208"/>
                        <a:pt x="609600" y="30480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4" name="任意多边形 175"/>
                <p:cNvSpPr/>
                <p:nvPr/>
              </p:nvSpPr>
              <p:spPr>
                <a:xfrm>
                  <a:off x="5838824" y="325754"/>
                  <a:ext cx="1003934" cy="1003934"/>
                </a:xfrm>
                <a:custGeom>
                  <a:avLst/>
                  <a:gdLst>
                    <a:gd name="connsiteX0" fmla="*/ 1003935 w 1003934"/>
                    <a:gd name="connsiteY0" fmla="*/ 501968 h 1003934"/>
                    <a:gd name="connsiteX1" fmla="*/ 501968 w 1003934"/>
                    <a:gd name="connsiteY1" fmla="*/ 1003935 h 1003934"/>
                    <a:gd name="connsiteX2" fmla="*/ 0 w 1003934"/>
                    <a:gd name="connsiteY2" fmla="*/ 501968 h 1003934"/>
                    <a:gd name="connsiteX3" fmla="*/ 501968 w 1003934"/>
                    <a:gd name="connsiteY3" fmla="*/ 0 h 1003934"/>
                    <a:gd name="connsiteX4" fmla="*/ 1003935 w 1003934"/>
                    <a:gd name="connsiteY4" fmla="*/ 501968 h 1003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3934" h="1003934">
                      <a:moveTo>
                        <a:pt x="1003935" y="501968"/>
                      </a:moveTo>
                      <a:cubicBezTo>
                        <a:pt x="1003935" y="779145"/>
                        <a:pt x="779145" y="1003935"/>
                        <a:pt x="501968" y="1003935"/>
                      </a:cubicBezTo>
                      <a:cubicBezTo>
                        <a:pt x="224790" y="1003935"/>
                        <a:pt x="0" y="779145"/>
                        <a:pt x="0" y="501968"/>
                      </a:cubicBezTo>
                      <a:cubicBezTo>
                        <a:pt x="0" y="224790"/>
                        <a:pt x="224790" y="0"/>
                        <a:pt x="501968" y="0"/>
                      </a:cubicBezTo>
                      <a:cubicBezTo>
                        <a:pt x="779145" y="0"/>
                        <a:pt x="1003935" y="224790"/>
                        <a:pt x="1003935" y="501968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5" name="任意多边形 176"/>
                <p:cNvSpPr/>
                <p:nvPr/>
              </p:nvSpPr>
              <p:spPr>
                <a:xfrm>
                  <a:off x="6095046" y="1067752"/>
                  <a:ext cx="716280" cy="716280"/>
                </a:xfrm>
                <a:custGeom>
                  <a:avLst/>
                  <a:gdLst>
                    <a:gd name="connsiteX0" fmla="*/ 716280 w 716280"/>
                    <a:gd name="connsiteY0" fmla="*/ 358140 h 716280"/>
                    <a:gd name="connsiteX1" fmla="*/ 358140 w 716280"/>
                    <a:gd name="connsiteY1" fmla="*/ 716280 h 716280"/>
                    <a:gd name="connsiteX2" fmla="*/ 0 w 716280"/>
                    <a:gd name="connsiteY2" fmla="*/ 358140 h 716280"/>
                    <a:gd name="connsiteX3" fmla="*/ 358140 w 716280"/>
                    <a:gd name="connsiteY3" fmla="*/ 0 h 716280"/>
                    <a:gd name="connsiteX4" fmla="*/ 716280 w 716280"/>
                    <a:gd name="connsiteY4" fmla="*/ 358140 h 716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6280" h="716280">
                      <a:moveTo>
                        <a:pt x="716280" y="358140"/>
                      </a:moveTo>
                      <a:cubicBezTo>
                        <a:pt x="716280" y="556260"/>
                        <a:pt x="556260" y="716280"/>
                        <a:pt x="358140" y="716280"/>
                      </a:cubicBezTo>
                      <a:cubicBezTo>
                        <a:pt x="160020" y="716280"/>
                        <a:pt x="0" y="556260"/>
                        <a:pt x="0" y="358140"/>
                      </a:cubicBezTo>
                      <a:cubicBezTo>
                        <a:pt x="0" y="160020"/>
                        <a:pt x="160020" y="0"/>
                        <a:pt x="358140" y="0"/>
                      </a:cubicBezTo>
                      <a:cubicBezTo>
                        <a:pt x="556260" y="0"/>
                        <a:pt x="716280" y="160020"/>
                        <a:pt x="716280" y="35814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" name="任意多边形 177"/>
                <p:cNvSpPr/>
                <p:nvPr/>
              </p:nvSpPr>
              <p:spPr>
                <a:xfrm>
                  <a:off x="5825489" y="1122045"/>
                  <a:ext cx="356234" cy="356234"/>
                </a:xfrm>
                <a:custGeom>
                  <a:avLst/>
                  <a:gdLst>
                    <a:gd name="connsiteX0" fmla="*/ 356235 w 356234"/>
                    <a:gd name="connsiteY0" fmla="*/ 178117 h 356234"/>
                    <a:gd name="connsiteX1" fmla="*/ 178117 w 356234"/>
                    <a:gd name="connsiteY1" fmla="*/ 356235 h 356234"/>
                    <a:gd name="connsiteX2" fmla="*/ 0 w 356234"/>
                    <a:gd name="connsiteY2" fmla="*/ 178117 h 356234"/>
                    <a:gd name="connsiteX3" fmla="*/ 178117 w 356234"/>
                    <a:gd name="connsiteY3" fmla="*/ 0 h 356234"/>
                    <a:gd name="connsiteX4" fmla="*/ 356235 w 356234"/>
                    <a:gd name="connsiteY4" fmla="*/ 178117 h 3562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234" h="356234">
                      <a:moveTo>
                        <a:pt x="356235" y="178117"/>
                      </a:moveTo>
                      <a:cubicBezTo>
                        <a:pt x="356235" y="276225"/>
                        <a:pt x="276225" y="356235"/>
                        <a:pt x="178117" y="356235"/>
                      </a:cubicBezTo>
                      <a:cubicBezTo>
                        <a:pt x="80010" y="356235"/>
                        <a:pt x="0" y="276225"/>
                        <a:pt x="0" y="178117"/>
                      </a:cubicBezTo>
                      <a:cubicBezTo>
                        <a:pt x="0" y="80010"/>
                        <a:pt x="80010" y="0"/>
                        <a:pt x="178117" y="0"/>
                      </a:cubicBezTo>
                      <a:cubicBezTo>
                        <a:pt x="277178" y="0"/>
                        <a:pt x="356235" y="80010"/>
                        <a:pt x="356235" y="178117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7" name="任意多边形 178"/>
                <p:cNvSpPr/>
                <p:nvPr/>
              </p:nvSpPr>
              <p:spPr>
                <a:xfrm>
                  <a:off x="6644639" y="1199197"/>
                  <a:ext cx="419100" cy="419099"/>
                </a:xfrm>
                <a:custGeom>
                  <a:avLst/>
                  <a:gdLst>
                    <a:gd name="connsiteX0" fmla="*/ 419100 w 419100"/>
                    <a:gd name="connsiteY0" fmla="*/ 209550 h 419099"/>
                    <a:gd name="connsiteX1" fmla="*/ 209550 w 419100"/>
                    <a:gd name="connsiteY1" fmla="*/ 419100 h 419099"/>
                    <a:gd name="connsiteX2" fmla="*/ 0 w 419100"/>
                    <a:gd name="connsiteY2" fmla="*/ 209550 h 419099"/>
                    <a:gd name="connsiteX3" fmla="*/ 209550 w 419100"/>
                    <a:gd name="connsiteY3" fmla="*/ 0 h 419099"/>
                    <a:gd name="connsiteX4" fmla="*/ 419100 w 419100"/>
                    <a:gd name="connsiteY4" fmla="*/ 209550 h 419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9100" h="419099">
                      <a:moveTo>
                        <a:pt x="419100" y="209550"/>
                      </a:moveTo>
                      <a:cubicBezTo>
                        <a:pt x="419100" y="325755"/>
                        <a:pt x="324803" y="419100"/>
                        <a:pt x="209550" y="419100"/>
                      </a:cubicBezTo>
                      <a:cubicBezTo>
                        <a:pt x="93345" y="419100"/>
                        <a:pt x="0" y="324803"/>
                        <a:pt x="0" y="209550"/>
                      </a:cubicBezTo>
                      <a:cubicBezTo>
                        <a:pt x="0" y="93345"/>
                        <a:pt x="94297" y="0"/>
                        <a:pt x="209550" y="0"/>
                      </a:cubicBezTo>
                      <a:cubicBezTo>
                        <a:pt x="325755" y="0"/>
                        <a:pt x="419100" y="94298"/>
                        <a:pt x="419100" y="20955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8" name="任意多边形 179"/>
                <p:cNvSpPr/>
                <p:nvPr/>
              </p:nvSpPr>
              <p:spPr>
                <a:xfrm>
                  <a:off x="5653087" y="1349692"/>
                  <a:ext cx="499109" cy="499110"/>
                </a:xfrm>
                <a:custGeom>
                  <a:avLst/>
                  <a:gdLst>
                    <a:gd name="connsiteX0" fmla="*/ 499110 w 499109"/>
                    <a:gd name="connsiteY0" fmla="*/ 249555 h 499110"/>
                    <a:gd name="connsiteX1" fmla="*/ 249555 w 499109"/>
                    <a:gd name="connsiteY1" fmla="*/ 499110 h 499110"/>
                    <a:gd name="connsiteX2" fmla="*/ 0 w 499109"/>
                    <a:gd name="connsiteY2" fmla="*/ 249555 h 499110"/>
                    <a:gd name="connsiteX3" fmla="*/ 249555 w 499109"/>
                    <a:gd name="connsiteY3" fmla="*/ 0 h 499110"/>
                    <a:gd name="connsiteX4" fmla="*/ 499110 w 499109"/>
                    <a:gd name="connsiteY4" fmla="*/ 249555 h 499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9109" h="499110">
                      <a:moveTo>
                        <a:pt x="499110" y="249555"/>
                      </a:moveTo>
                      <a:cubicBezTo>
                        <a:pt x="499110" y="387667"/>
                        <a:pt x="387668" y="499110"/>
                        <a:pt x="249555" y="499110"/>
                      </a:cubicBezTo>
                      <a:cubicBezTo>
                        <a:pt x="111443" y="499110"/>
                        <a:pt x="0" y="387667"/>
                        <a:pt x="0" y="249555"/>
                      </a:cubicBezTo>
                      <a:cubicBezTo>
                        <a:pt x="0" y="111442"/>
                        <a:pt x="111443" y="0"/>
                        <a:pt x="249555" y="0"/>
                      </a:cubicBezTo>
                      <a:cubicBezTo>
                        <a:pt x="386715" y="0"/>
                        <a:pt x="499110" y="111442"/>
                        <a:pt x="499110" y="249555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8" name="组合 7"/>
            <p:cNvGrpSpPr/>
            <p:nvPr/>
          </p:nvGrpSpPr>
          <p:grpSpPr>
            <a:xfrm>
              <a:off x="3252047" y="2196916"/>
              <a:ext cx="995191" cy="2508433"/>
              <a:chOff x="3216962" y="264294"/>
              <a:chExt cx="995191" cy="2508433"/>
            </a:xfrm>
          </p:grpSpPr>
          <p:sp>
            <p:nvSpPr>
              <p:cNvPr id="56" name="任意多边形 183"/>
              <p:cNvSpPr/>
              <p:nvPr/>
            </p:nvSpPr>
            <p:spPr>
              <a:xfrm>
                <a:off x="3281110" y="264294"/>
                <a:ext cx="868010" cy="2011450"/>
              </a:xfrm>
              <a:custGeom>
                <a:avLst/>
                <a:gdLst>
                  <a:gd name="connsiteX0" fmla="*/ 526032 w 868010"/>
                  <a:gd name="connsiteY0" fmla="*/ 1999798 h 2011450"/>
                  <a:gd name="connsiteX1" fmla="*/ 838452 w 868010"/>
                  <a:gd name="connsiteY1" fmla="*/ 1649278 h 2011450"/>
                  <a:gd name="connsiteX2" fmla="*/ 768919 w 868010"/>
                  <a:gd name="connsiteY2" fmla="*/ 172903 h 2011450"/>
                  <a:gd name="connsiteX3" fmla="*/ 105979 w 868010"/>
                  <a:gd name="connsiteY3" fmla="*/ 97656 h 2011450"/>
                  <a:gd name="connsiteX4" fmla="*/ 35495 w 868010"/>
                  <a:gd name="connsiteY4" fmla="*/ 1321618 h 2011450"/>
                  <a:gd name="connsiteX5" fmla="*/ 526032 w 868010"/>
                  <a:gd name="connsiteY5" fmla="*/ 1999798 h 201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8010" h="2011450">
                    <a:moveTo>
                      <a:pt x="526032" y="1999798"/>
                    </a:moveTo>
                    <a:cubicBezTo>
                      <a:pt x="643190" y="1975033"/>
                      <a:pt x="826069" y="1932171"/>
                      <a:pt x="838452" y="1649278"/>
                    </a:cubicBezTo>
                    <a:cubicBezTo>
                      <a:pt x="850835" y="1367338"/>
                      <a:pt x="927987" y="352926"/>
                      <a:pt x="768919" y="172903"/>
                    </a:cubicBezTo>
                    <a:cubicBezTo>
                      <a:pt x="609852" y="-8072"/>
                      <a:pt x="305052" y="-69032"/>
                      <a:pt x="105979" y="97656"/>
                    </a:cubicBezTo>
                    <a:cubicBezTo>
                      <a:pt x="-93093" y="263391"/>
                      <a:pt x="52639" y="1125403"/>
                      <a:pt x="35495" y="1321618"/>
                    </a:cubicBezTo>
                    <a:cubicBezTo>
                      <a:pt x="17397" y="1517833"/>
                      <a:pt x="42162" y="2100763"/>
                      <a:pt x="526032" y="19997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 184"/>
              <p:cNvSpPr/>
              <p:nvPr/>
            </p:nvSpPr>
            <p:spPr>
              <a:xfrm>
                <a:off x="3702315" y="1480537"/>
                <a:ext cx="489368" cy="580319"/>
              </a:xfrm>
              <a:custGeom>
                <a:avLst/>
                <a:gdLst>
                  <a:gd name="connsiteX0" fmla="*/ 230556 w 489368"/>
                  <a:gd name="connsiteY0" fmla="*/ 579720 h 580319"/>
                  <a:gd name="connsiteX1" fmla="*/ 462966 w 489368"/>
                  <a:gd name="connsiteY1" fmla="*/ 432083 h 580319"/>
                  <a:gd name="connsiteX2" fmla="*/ 380099 w 489368"/>
                  <a:gd name="connsiteY2" fmla="*/ 32985 h 580319"/>
                  <a:gd name="connsiteX3" fmla="*/ 21006 w 489368"/>
                  <a:gd name="connsiteY3" fmla="*/ 136808 h 580319"/>
                  <a:gd name="connsiteX4" fmla="*/ 230556 w 489368"/>
                  <a:gd name="connsiteY4" fmla="*/ 579720 h 580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9368" h="580319">
                    <a:moveTo>
                      <a:pt x="230556" y="579720"/>
                    </a:moveTo>
                    <a:cubicBezTo>
                      <a:pt x="335331" y="573053"/>
                      <a:pt x="423914" y="542573"/>
                      <a:pt x="462966" y="432083"/>
                    </a:cubicBezTo>
                    <a:cubicBezTo>
                      <a:pt x="502019" y="321593"/>
                      <a:pt x="514401" y="113948"/>
                      <a:pt x="380099" y="32985"/>
                    </a:cubicBezTo>
                    <a:cubicBezTo>
                      <a:pt x="246749" y="-47977"/>
                      <a:pt x="58154" y="32985"/>
                      <a:pt x="21006" y="136808"/>
                    </a:cubicBezTo>
                    <a:cubicBezTo>
                      <a:pt x="-16141" y="241583"/>
                      <a:pt x="-33286" y="596865"/>
                      <a:pt x="230556" y="57972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 185"/>
              <p:cNvSpPr/>
              <p:nvPr/>
            </p:nvSpPr>
            <p:spPr>
              <a:xfrm>
                <a:off x="3653789" y="948689"/>
                <a:ext cx="150495" cy="1824037"/>
              </a:xfrm>
              <a:custGeom>
                <a:avLst/>
                <a:gdLst>
                  <a:gd name="connsiteX0" fmla="*/ 150495 w 150495"/>
                  <a:gd name="connsiteY0" fmla="*/ 1824038 h 1824037"/>
                  <a:gd name="connsiteX1" fmla="*/ 0 w 150495"/>
                  <a:gd name="connsiteY1" fmla="*/ 1824038 h 1824037"/>
                  <a:gd name="connsiteX2" fmla="*/ 51435 w 150495"/>
                  <a:gd name="connsiteY2" fmla="*/ 0 h 1824037"/>
                  <a:gd name="connsiteX3" fmla="*/ 99060 w 150495"/>
                  <a:gd name="connsiteY3" fmla="*/ 0 h 1824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495" h="1824037">
                    <a:moveTo>
                      <a:pt x="150495" y="1824038"/>
                    </a:moveTo>
                    <a:lnTo>
                      <a:pt x="0" y="1824038"/>
                    </a:lnTo>
                    <a:lnTo>
                      <a:pt x="51435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 186"/>
              <p:cNvSpPr/>
              <p:nvPr/>
            </p:nvSpPr>
            <p:spPr>
              <a:xfrm>
                <a:off x="3443804" y="838200"/>
                <a:ext cx="284279" cy="289560"/>
              </a:xfrm>
              <a:custGeom>
                <a:avLst/>
                <a:gdLst>
                  <a:gd name="connsiteX0" fmla="*/ 284280 w 284279"/>
                  <a:gd name="connsiteY0" fmla="*/ 235267 h 289560"/>
                  <a:gd name="connsiteX1" fmla="*/ 64252 w 284279"/>
                  <a:gd name="connsiteY1" fmla="*/ 0 h 289560"/>
                  <a:gd name="connsiteX2" fmla="*/ 435 w 284279"/>
                  <a:gd name="connsiteY2" fmla="*/ 20002 h 289560"/>
                  <a:gd name="connsiteX3" fmla="*/ 281422 w 284279"/>
                  <a:gd name="connsiteY3" fmla="*/ 289560 h 289560"/>
                  <a:gd name="connsiteX4" fmla="*/ 284280 w 284279"/>
                  <a:gd name="connsiteY4" fmla="*/ 235267 h 289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60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 187"/>
              <p:cNvSpPr/>
              <p:nvPr/>
            </p:nvSpPr>
            <p:spPr>
              <a:xfrm>
                <a:off x="3443804" y="1560195"/>
                <a:ext cx="284279" cy="289559"/>
              </a:xfrm>
              <a:custGeom>
                <a:avLst/>
                <a:gdLst>
                  <a:gd name="connsiteX0" fmla="*/ 284280 w 284279"/>
                  <a:gd name="connsiteY0" fmla="*/ 235267 h 289559"/>
                  <a:gd name="connsiteX1" fmla="*/ 64252 w 284279"/>
                  <a:gd name="connsiteY1" fmla="*/ 0 h 289559"/>
                  <a:gd name="connsiteX2" fmla="*/ 435 w 284279"/>
                  <a:gd name="connsiteY2" fmla="*/ 20002 h 289559"/>
                  <a:gd name="connsiteX3" fmla="*/ 281422 w 284279"/>
                  <a:gd name="connsiteY3" fmla="*/ 289560 h 289559"/>
                  <a:gd name="connsiteX4" fmla="*/ 284280 w 284279"/>
                  <a:gd name="connsiteY4" fmla="*/ 235267 h 289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59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 188"/>
              <p:cNvSpPr/>
              <p:nvPr/>
            </p:nvSpPr>
            <p:spPr>
              <a:xfrm>
                <a:off x="3724274" y="1116329"/>
                <a:ext cx="317182" cy="255270"/>
              </a:xfrm>
              <a:custGeom>
                <a:avLst/>
                <a:gdLst>
                  <a:gd name="connsiteX0" fmla="*/ 5715 w 317182"/>
                  <a:gd name="connsiteY0" fmla="*/ 200978 h 255270"/>
                  <a:gd name="connsiteX1" fmla="*/ 257175 w 317182"/>
                  <a:gd name="connsiteY1" fmla="*/ 0 h 255270"/>
                  <a:gd name="connsiteX2" fmla="*/ 317183 w 317182"/>
                  <a:gd name="connsiteY2" fmla="*/ 29528 h 255270"/>
                  <a:gd name="connsiteX3" fmla="*/ 0 w 317182"/>
                  <a:gd name="connsiteY3" fmla="*/ 255270 h 255270"/>
                  <a:gd name="connsiteX4" fmla="*/ 5715 w 317182"/>
                  <a:gd name="connsiteY4" fmla="*/ 200978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7182" h="255270">
                    <a:moveTo>
                      <a:pt x="5715" y="200978"/>
                    </a:moveTo>
                    <a:cubicBezTo>
                      <a:pt x="5715" y="200978"/>
                      <a:pt x="255270" y="248603"/>
                      <a:pt x="257175" y="0"/>
                    </a:cubicBezTo>
                    <a:lnTo>
                      <a:pt x="317183" y="29528"/>
                    </a:lnTo>
                    <a:cubicBezTo>
                      <a:pt x="317183" y="29528"/>
                      <a:pt x="308610" y="252413"/>
                      <a:pt x="0" y="255270"/>
                    </a:cubicBezTo>
                    <a:lnTo>
                      <a:pt x="5715" y="2009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 189"/>
              <p:cNvSpPr/>
              <p:nvPr/>
            </p:nvSpPr>
            <p:spPr>
              <a:xfrm>
                <a:off x="3741419" y="1302067"/>
                <a:ext cx="199239" cy="294322"/>
              </a:xfrm>
              <a:custGeom>
                <a:avLst/>
                <a:gdLst>
                  <a:gd name="connsiteX0" fmla="*/ 0 w 199239"/>
                  <a:gd name="connsiteY0" fmla="*/ 239078 h 294322"/>
                  <a:gd name="connsiteX1" fmla="*/ 155257 w 199239"/>
                  <a:gd name="connsiteY1" fmla="*/ 953 h 294322"/>
                  <a:gd name="connsiteX2" fmla="*/ 199072 w 199239"/>
                  <a:gd name="connsiteY2" fmla="*/ 0 h 294322"/>
                  <a:gd name="connsiteX3" fmla="*/ 952 w 199239"/>
                  <a:gd name="connsiteY3" fmla="*/ 294323 h 294322"/>
                  <a:gd name="connsiteX4" fmla="*/ 0 w 199239"/>
                  <a:gd name="connsiteY4" fmla="*/ 239078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8"/>
                    </a:moveTo>
                    <a:cubicBezTo>
                      <a:pt x="0" y="239078"/>
                      <a:pt x="175260" y="245745"/>
                      <a:pt x="155257" y="953"/>
                    </a:cubicBezTo>
                    <a:lnTo>
                      <a:pt x="199072" y="0"/>
                    </a:lnTo>
                    <a:cubicBezTo>
                      <a:pt x="199072" y="0"/>
                      <a:pt x="212408" y="240983"/>
                      <a:pt x="952" y="294323"/>
                    </a:cubicBezTo>
                    <a:lnTo>
                      <a:pt x="0" y="2390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 190"/>
              <p:cNvSpPr/>
              <p:nvPr/>
            </p:nvSpPr>
            <p:spPr>
              <a:xfrm>
                <a:off x="3741419" y="1663065"/>
                <a:ext cx="199239" cy="294322"/>
              </a:xfrm>
              <a:custGeom>
                <a:avLst/>
                <a:gdLst>
                  <a:gd name="connsiteX0" fmla="*/ 0 w 199239"/>
                  <a:gd name="connsiteY0" fmla="*/ 239077 h 294322"/>
                  <a:gd name="connsiteX1" fmla="*/ 155257 w 199239"/>
                  <a:gd name="connsiteY1" fmla="*/ 952 h 294322"/>
                  <a:gd name="connsiteX2" fmla="*/ 199072 w 199239"/>
                  <a:gd name="connsiteY2" fmla="*/ 0 h 294322"/>
                  <a:gd name="connsiteX3" fmla="*/ 952 w 199239"/>
                  <a:gd name="connsiteY3" fmla="*/ 294322 h 294322"/>
                  <a:gd name="connsiteX4" fmla="*/ 0 w 199239"/>
                  <a:gd name="connsiteY4" fmla="*/ 239077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7"/>
                    </a:moveTo>
                    <a:cubicBezTo>
                      <a:pt x="0" y="239077"/>
                      <a:pt x="175260" y="245745"/>
                      <a:pt x="155257" y="952"/>
                    </a:cubicBezTo>
                    <a:lnTo>
                      <a:pt x="199072" y="0"/>
                    </a:lnTo>
                    <a:cubicBezTo>
                      <a:pt x="199072" y="0"/>
                      <a:pt x="212408" y="240982"/>
                      <a:pt x="952" y="294322"/>
                    </a:cubicBezTo>
                    <a:lnTo>
                      <a:pt x="0" y="23907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 191"/>
              <p:cNvSpPr/>
              <p:nvPr/>
            </p:nvSpPr>
            <p:spPr>
              <a:xfrm>
                <a:off x="3216962" y="326204"/>
                <a:ext cx="488947" cy="660283"/>
              </a:xfrm>
              <a:custGeom>
                <a:avLst/>
                <a:gdLst>
                  <a:gd name="connsiteX0" fmla="*/ 230135 w 488947"/>
                  <a:gd name="connsiteY0" fmla="*/ 659633 h 660283"/>
                  <a:gd name="connsiteX1" fmla="*/ 462545 w 488947"/>
                  <a:gd name="connsiteY1" fmla="*/ 491993 h 660283"/>
                  <a:gd name="connsiteX2" fmla="*/ 379677 w 488947"/>
                  <a:gd name="connsiteY2" fmla="*/ 37650 h 660283"/>
                  <a:gd name="connsiteX3" fmla="*/ 20585 w 488947"/>
                  <a:gd name="connsiteY3" fmla="*/ 155760 h 660283"/>
                  <a:gd name="connsiteX4" fmla="*/ 230135 w 488947"/>
                  <a:gd name="connsiteY4" fmla="*/ 659633 h 660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8947" h="660283">
                    <a:moveTo>
                      <a:pt x="230135" y="659633"/>
                    </a:moveTo>
                    <a:cubicBezTo>
                      <a:pt x="334910" y="652013"/>
                      <a:pt x="423492" y="617723"/>
                      <a:pt x="462545" y="491993"/>
                    </a:cubicBezTo>
                    <a:cubicBezTo>
                      <a:pt x="501597" y="366263"/>
                      <a:pt x="513980" y="130043"/>
                      <a:pt x="379677" y="37650"/>
                    </a:cubicBezTo>
                    <a:cubicBezTo>
                      <a:pt x="246327" y="-54742"/>
                      <a:pt x="57732" y="37650"/>
                      <a:pt x="20585" y="155760"/>
                    </a:cubicBezTo>
                    <a:cubicBezTo>
                      <a:pt x="-15610" y="273870"/>
                      <a:pt x="-33708" y="678683"/>
                      <a:pt x="230135" y="659633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 192"/>
              <p:cNvSpPr/>
              <p:nvPr/>
            </p:nvSpPr>
            <p:spPr>
              <a:xfrm>
                <a:off x="3871574" y="708915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 193"/>
              <p:cNvSpPr/>
              <p:nvPr/>
            </p:nvSpPr>
            <p:spPr>
              <a:xfrm>
                <a:off x="3242924" y="1171830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4118451" y="4450079"/>
              <a:ext cx="707707" cy="256222"/>
              <a:chOff x="4083366" y="2517457"/>
              <a:chExt cx="707707" cy="256222"/>
            </a:xfrm>
          </p:grpSpPr>
          <p:sp>
            <p:nvSpPr>
              <p:cNvPr id="52" name="任意多边形 196"/>
              <p:cNvSpPr/>
              <p:nvPr/>
            </p:nvSpPr>
            <p:spPr>
              <a:xfrm>
                <a:off x="4195762" y="2517457"/>
                <a:ext cx="510540" cy="255270"/>
              </a:xfrm>
              <a:custGeom>
                <a:avLst/>
                <a:gdLst>
                  <a:gd name="connsiteX0" fmla="*/ 255270 w 510540"/>
                  <a:gd name="connsiteY0" fmla="*/ 0 h 255270"/>
                  <a:gd name="connsiteX1" fmla="*/ 0 w 510540"/>
                  <a:gd name="connsiteY1" fmla="*/ 255270 h 255270"/>
                  <a:gd name="connsiteX2" fmla="*/ 510540 w 510540"/>
                  <a:gd name="connsiteY2" fmla="*/ 255270 h 255270"/>
                  <a:gd name="connsiteX3" fmla="*/ 255270 w 510540"/>
                  <a:gd name="connsiteY3" fmla="*/ 0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0540" h="255270">
                    <a:moveTo>
                      <a:pt x="255270" y="0"/>
                    </a:moveTo>
                    <a:cubicBezTo>
                      <a:pt x="114300" y="0"/>
                      <a:pt x="0" y="114300"/>
                      <a:pt x="0" y="255270"/>
                    </a:cubicBezTo>
                    <a:lnTo>
                      <a:pt x="510540" y="255270"/>
                    </a:lnTo>
                    <a:cubicBezTo>
                      <a:pt x="510540" y="114300"/>
                      <a:pt x="396240" y="0"/>
                      <a:pt x="255270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 197"/>
              <p:cNvSpPr/>
              <p:nvPr/>
            </p:nvSpPr>
            <p:spPr>
              <a:xfrm>
                <a:off x="4083366" y="2619375"/>
                <a:ext cx="307657" cy="154305"/>
              </a:xfrm>
              <a:custGeom>
                <a:avLst/>
                <a:gdLst>
                  <a:gd name="connsiteX0" fmla="*/ 154305 w 307657"/>
                  <a:gd name="connsiteY0" fmla="*/ 0 h 154305"/>
                  <a:gd name="connsiteX1" fmla="*/ 0 w 307657"/>
                  <a:gd name="connsiteY1" fmla="*/ 154305 h 154305"/>
                  <a:gd name="connsiteX2" fmla="*/ 307658 w 307657"/>
                  <a:gd name="connsiteY2" fmla="*/ 154305 h 154305"/>
                  <a:gd name="connsiteX3" fmla="*/ 154305 w 307657"/>
                  <a:gd name="connsiteY3" fmla="*/ 0 h 154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7657" h="154305">
                    <a:moveTo>
                      <a:pt x="154305" y="0"/>
                    </a:moveTo>
                    <a:cubicBezTo>
                      <a:pt x="69533" y="0"/>
                      <a:pt x="0" y="68580"/>
                      <a:pt x="0" y="154305"/>
                    </a:cubicBezTo>
                    <a:lnTo>
                      <a:pt x="307658" y="154305"/>
                    </a:lnTo>
                    <a:cubicBezTo>
                      <a:pt x="307658" y="68580"/>
                      <a:pt x="239078" y="0"/>
                      <a:pt x="15430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 198"/>
              <p:cNvSpPr/>
              <p:nvPr/>
            </p:nvSpPr>
            <p:spPr>
              <a:xfrm>
                <a:off x="4277677" y="2664142"/>
                <a:ext cx="217169" cy="108584"/>
              </a:xfrm>
              <a:custGeom>
                <a:avLst/>
                <a:gdLst>
                  <a:gd name="connsiteX0" fmla="*/ 108585 w 217169"/>
                  <a:gd name="connsiteY0" fmla="*/ 0 h 108584"/>
                  <a:gd name="connsiteX1" fmla="*/ 0 w 217169"/>
                  <a:gd name="connsiteY1" fmla="*/ 108585 h 108584"/>
                  <a:gd name="connsiteX2" fmla="*/ 217170 w 217169"/>
                  <a:gd name="connsiteY2" fmla="*/ 108585 h 108584"/>
                  <a:gd name="connsiteX3" fmla="*/ 108585 w 217169"/>
                  <a:gd name="connsiteY3" fmla="*/ 0 h 108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7169" h="108584">
                    <a:moveTo>
                      <a:pt x="108585" y="0"/>
                    </a:moveTo>
                    <a:cubicBezTo>
                      <a:pt x="48577" y="0"/>
                      <a:pt x="0" y="48577"/>
                      <a:pt x="0" y="108585"/>
                    </a:cubicBezTo>
                    <a:lnTo>
                      <a:pt x="217170" y="108585"/>
                    </a:lnTo>
                    <a:cubicBezTo>
                      <a:pt x="217170" y="48577"/>
                      <a:pt x="168592" y="0"/>
                      <a:pt x="10858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 199"/>
              <p:cNvSpPr/>
              <p:nvPr/>
            </p:nvSpPr>
            <p:spPr>
              <a:xfrm>
                <a:off x="4589144" y="2671762"/>
                <a:ext cx="201929" cy="100965"/>
              </a:xfrm>
              <a:custGeom>
                <a:avLst/>
                <a:gdLst>
                  <a:gd name="connsiteX0" fmla="*/ 100965 w 201929"/>
                  <a:gd name="connsiteY0" fmla="*/ 0 h 100965"/>
                  <a:gd name="connsiteX1" fmla="*/ 0 w 201929"/>
                  <a:gd name="connsiteY1" fmla="*/ 100965 h 100965"/>
                  <a:gd name="connsiteX2" fmla="*/ 201930 w 201929"/>
                  <a:gd name="connsiteY2" fmla="*/ 100965 h 100965"/>
                  <a:gd name="connsiteX3" fmla="*/ 100965 w 201929"/>
                  <a:gd name="connsiteY3" fmla="*/ 0 h 100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1929" h="100965">
                    <a:moveTo>
                      <a:pt x="100965" y="0"/>
                    </a:moveTo>
                    <a:cubicBezTo>
                      <a:pt x="45720" y="0"/>
                      <a:pt x="0" y="44768"/>
                      <a:pt x="0" y="100965"/>
                    </a:cubicBezTo>
                    <a:lnTo>
                      <a:pt x="201930" y="100965"/>
                    </a:lnTo>
                    <a:cubicBezTo>
                      <a:pt x="201930" y="45720"/>
                      <a:pt x="157163" y="0"/>
                      <a:pt x="100965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7536022" y="4531994"/>
              <a:ext cx="482917" cy="174307"/>
              <a:chOff x="7500937" y="2599372"/>
              <a:chExt cx="482917" cy="174307"/>
            </a:xfrm>
          </p:grpSpPr>
          <p:sp>
            <p:nvSpPr>
              <p:cNvPr id="48" name="任意多边形 201"/>
              <p:cNvSpPr/>
              <p:nvPr/>
            </p:nvSpPr>
            <p:spPr>
              <a:xfrm>
                <a:off x="7578089" y="2599372"/>
                <a:ext cx="347662" cy="174307"/>
              </a:xfrm>
              <a:custGeom>
                <a:avLst/>
                <a:gdLst>
                  <a:gd name="connsiteX0" fmla="*/ 174308 w 347662"/>
                  <a:gd name="connsiteY0" fmla="*/ 0 h 174307"/>
                  <a:gd name="connsiteX1" fmla="*/ 0 w 347662"/>
                  <a:gd name="connsiteY1" fmla="*/ 174308 h 174307"/>
                  <a:gd name="connsiteX2" fmla="*/ 347662 w 347662"/>
                  <a:gd name="connsiteY2" fmla="*/ 174308 h 174307"/>
                  <a:gd name="connsiteX3" fmla="*/ 174308 w 347662"/>
                  <a:gd name="connsiteY3" fmla="*/ 0 h 17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7662" h="174307">
                    <a:moveTo>
                      <a:pt x="174308" y="0"/>
                    </a:moveTo>
                    <a:cubicBezTo>
                      <a:pt x="78105" y="0"/>
                      <a:pt x="0" y="78105"/>
                      <a:pt x="0" y="174308"/>
                    </a:cubicBezTo>
                    <a:lnTo>
                      <a:pt x="347662" y="174308"/>
                    </a:lnTo>
                    <a:cubicBezTo>
                      <a:pt x="347662" y="77153"/>
                      <a:pt x="269558" y="0"/>
                      <a:pt x="174308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 202"/>
              <p:cNvSpPr/>
              <p:nvPr/>
            </p:nvSpPr>
            <p:spPr>
              <a:xfrm>
                <a:off x="7500937" y="2667952"/>
                <a:ext cx="209550" cy="104775"/>
              </a:xfrm>
              <a:custGeom>
                <a:avLst/>
                <a:gdLst>
                  <a:gd name="connsiteX0" fmla="*/ 104775 w 209550"/>
                  <a:gd name="connsiteY0" fmla="*/ 0 h 104775"/>
                  <a:gd name="connsiteX1" fmla="*/ 0 w 209550"/>
                  <a:gd name="connsiteY1" fmla="*/ 104775 h 104775"/>
                  <a:gd name="connsiteX2" fmla="*/ 209550 w 209550"/>
                  <a:gd name="connsiteY2" fmla="*/ 104775 h 104775"/>
                  <a:gd name="connsiteX3" fmla="*/ 104775 w 209550"/>
                  <a:gd name="connsiteY3" fmla="*/ 0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50" h="104775">
                    <a:moveTo>
                      <a:pt x="104775" y="0"/>
                    </a:moveTo>
                    <a:cubicBezTo>
                      <a:pt x="46672" y="0"/>
                      <a:pt x="0" y="46672"/>
                      <a:pt x="0" y="104775"/>
                    </a:cubicBezTo>
                    <a:lnTo>
                      <a:pt x="209550" y="104775"/>
                    </a:lnTo>
                    <a:cubicBezTo>
                      <a:pt x="209550" y="47625"/>
                      <a:pt x="162877" y="0"/>
                      <a:pt x="10477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 203"/>
              <p:cNvSpPr/>
              <p:nvPr/>
            </p:nvSpPr>
            <p:spPr>
              <a:xfrm>
                <a:off x="7633334" y="2699384"/>
                <a:ext cx="147637" cy="74295"/>
              </a:xfrm>
              <a:custGeom>
                <a:avLst/>
                <a:gdLst>
                  <a:gd name="connsiteX0" fmla="*/ 74295 w 147637"/>
                  <a:gd name="connsiteY0" fmla="*/ 0 h 74295"/>
                  <a:gd name="connsiteX1" fmla="*/ 0 w 147637"/>
                  <a:gd name="connsiteY1" fmla="*/ 74295 h 74295"/>
                  <a:gd name="connsiteX2" fmla="*/ 147638 w 147637"/>
                  <a:gd name="connsiteY2" fmla="*/ 74295 h 74295"/>
                  <a:gd name="connsiteX3" fmla="*/ 74295 w 147637"/>
                  <a:gd name="connsiteY3" fmla="*/ 0 h 74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7637" h="74295">
                    <a:moveTo>
                      <a:pt x="74295" y="0"/>
                    </a:moveTo>
                    <a:cubicBezTo>
                      <a:pt x="33338" y="0"/>
                      <a:pt x="0" y="33338"/>
                      <a:pt x="0" y="74295"/>
                    </a:cubicBezTo>
                    <a:lnTo>
                      <a:pt x="147638" y="74295"/>
                    </a:lnTo>
                    <a:cubicBezTo>
                      <a:pt x="147638" y="32385"/>
                      <a:pt x="115252" y="0"/>
                      <a:pt x="7429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 204"/>
              <p:cNvSpPr/>
              <p:nvPr/>
            </p:nvSpPr>
            <p:spPr>
              <a:xfrm>
                <a:off x="7846694" y="2704147"/>
                <a:ext cx="137160" cy="68580"/>
              </a:xfrm>
              <a:custGeom>
                <a:avLst/>
                <a:gdLst>
                  <a:gd name="connsiteX0" fmla="*/ 68580 w 137160"/>
                  <a:gd name="connsiteY0" fmla="*/ 0 h 68580"/>
                  <a:gd name="connsiteX1" fmla="*/ 0 w 137160"/>
                  <a:gd name="connsiteY1" fmla="*/ 68580 h 68580"/>
                  <a:gd name="connsiteX2" fmla="*/ 137160 w 137160"/>
                  <a:gd name="connsiteY2" fmla="*/ 68580 h 68580"/>
                  <a:gd name="connsiteX3" fmla="*/ 68580 w 137160"/>
                  <a:gd name="connsiteY3" fmla="*/ 0 h 68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160" h="68580">
                    <a:moveTo>
                      <a:pt x="68580" y="0"/>
                    </a:moveTo>
                    <a:cubicBezTo>
                      <a:pt x="30480" y="0"/>
                      <a:pt x="0" y="30480"/>
                      <a:pt x="0" y="68580"/>
                    </a:cubicBezTo>
                    <a:lnTo>
                      <a:pt x="137160" y="68580"/>
                    </a:lnTo>
                    <a:cubicBezTo>
                      <a:pt x="137160" y="30480"/>
                      <a:pt x="105728" y="0"/>
                      <a:pt x="6858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4761389" y="3611879"/>
              <a:ext cx="647700" cy="1093470"/>
              <a:chOff x="4726304" y="1679257"/>
              <a:chExt cx="647700" cy="1093470"/>
            </a:xfrm>
          </p:grpSpPr>
          <p:sp>
            <p:nvSpPr>
              <p:cNvPr id="44" name="任意多边形 207"/>
              <p:cNvSpPr/>
              <p:nvPr/>
            </p:nvSpPr>
            <p:spPr>
              <a:xfrm>
                <a:off x="5007291" y="2360295"/>
                <a:ext cx="85725" cy="412432"/>
              </a:xfrm>
              <a:custGeom>
                <a:avLst/>
                <a:gdLst>
                  <a:gd name="connsiteX0" fmla="*/ 0 w 85725"/>
                  <a:gd name="connsiteY0" fmla="*/ 412433 h 412432"/>
                  <a:gd name="connsiteX1" fmla="*/ 85725 w 85725"/>
                  <a:gd name="connsiteY1" fmla="*/ 412433 h 412432"/>
                  <a:gd name="connsiteX2" fmla="*/ 75248 w 85725"/>
                  <a:gd name="connsiteY2" fmla="*/ 0 h 412432"/>
                  <a:gd name="connsiteX3" fmla="*/ 15240 w 85725"/>
                  <a:gd name="connsiteY3" fmla="*/ 0 h 412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5" h="412432">
                    <a:moveTo>
                      <a:pt x="0" y="412433"/>
                    </a:moveTo>
                    <a:lnTo>
                      <a:pt x="85725" y="412433"/>
                    </a:lnTo>
                    <a:lnTo>
                      <a:pt x="75248" y="0"/>
                    </a:lnTo>
                    <a:lnTo>
                      <a:pt x="1524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 208"/>
              <p:cNvSpPr/>
              <p:nvPr/>
            </p:nvSpPr>
            <p:spPr>
              <a:xfrm>
                <a:off x="5028246" y="2368867"/>
                <a:ext cx="172031" cy="227647"/>
              </a:xfrm>
              <a:custGeom>
                <a:avLst/>
                <a:gdLst>
                  <a:gd name="connsiteX0" fmla="*/ 953 w 172031"/>
                  <a:gd name="connsiteY0" fmla="*/ 180023 h 227647"/>
                  <a:gd name="connsiteX1" fmla="*/ 125730 w 172031"/>
                  <a:gd name="connsiteY1" fmla="*/ 0 h 227647"/>
                  <a:gd name="connsiteX2" fmla="*/ 170497 w 172031"/>
                  <a:gd name="connsiteY2" fmla="*/ 7620 h 227647"/>
                  <a:gd name="connsiteX3" fmla="*/ 0 w 172031"/>
                  <a:gd name="connsiteY3" fmla="*/ 227648 h 227647"/>
                  <a:gd name="connsiteX4" fmla="*/ 953 w 172031"/>
                  <a:gd name="connsiteY4" fmla="*/ 180023 h 227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2031" h="227647">
                    <a:moveTo>
                      <a:pt x="953" y="180023"/>
                    </a:moveTo>
                    <a:cubicBezTo>
                      <a:pt x="953" y="180023"/>
                      <a:pt x="172403" y="161925"/>
                      <a:pt x="125730" y="0"/>
                    </a:cubicBezTo>
                    <a:lnTo>
                      <a:pt x="170497" y="7620"/>
                    </a:lnTo>
                    <a:cubicBezTo>
                      <a:pt x="170497" y="7620"/>
                      <a:pt x="200025" y="164783"/>
                      <a:pt x="0" y="227648"/>
                    </a:cubicBezTo>
                    <a:lnTo>
                      <a:pt x="953" y="180023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 209"/>
              <p:cNvSpPr/>
              <p:nvPr/>
            </p:nvSpPr>
            <p:spPr>
              <a:xfrm>
                <a:off x="4907258" y="2329815"/>
                <a:ext cx="142896" cy="184784"/>
              </a:xfrm>
              <a:custGeom>
                <a:avLst/>
                <a:gdLst>
                  <a:gd name="connsiteX0" fmla="*/ 36216 w 142896"/>
                  <a:gd name="connsiteY0" fmla="*/ 12382 h 184784"/>
                  <a:gd name="connsiteX1" fmla="*/ 142896 w 142896"/>
                  <a:gd name="connsiteY1" fmla="*/ 152400 h 184784"/>
                  <a:gd name="connsiteX2" fmla="*/ 125751 w 142896"/>
                  <a:gd name="connsiteY2" fmla="*/ 184785 h 184784"/>
                  <a:gd name="connsiteX3" fmla="*/ 21 w 142896"/>
                  <a:gd name="connsiteY3" fmla="*/ 0 h 184784"/>
                  <a:gd name="connsiteX4" fmla="*/ 36216 w 142896"/>
                  <a:gd name="connsiteY4" fmla="*/ 12382 h 184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896" h="184784">
                    <a:moveTo>
                      <a:pt x="36216" y="12382"/>
                    </a:moveTo>
                    <a:cubicBezTo>
                      <a:pt x="36216" y="12382"/>
                      <a:pt x="7641" y="148590"/>
                      <a:pt x="142896" y="152400"/>
                    </a:cubicBezTo>
                    <a:lnTo>
                      <a:pt x="125751" y="184785"/>
                    </a:lnTo>
                    <a:cubicBezTo>
                      <a:pt x="125751" y="184785"/>
                      <a:pt x="-1884" y="168592"/>
                      <a:pt x="21" y="0"/>
                    </a:cubicBezTo>
                    <a:lnTo>
                      <a:pt x="36216" y="12382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 210"/>
              <p:cNvSpPr/>
              <p:nvPr/>
            </p:nvSpPr>
            <p:spPr>
              <a:xfrm>
                <a:off x="4726304" y="1679257"/>
                <a:ext cx="647700" cy="770572"/>
              </a:xfrm>
              <a:custGeom>
                <a:avLst/>
                <a:gdLst>
                  <a:gd name="connsiteX0" fmla="*/ 647700 w 647700"/>
                  <a:gd name="connsiteY0" fmla="*/ 425767 h 770572"/>
                  <a:gd name="connsiteX1" fmla="*/ 323850 w 647700"/>
                  <a:gd name="connsiteY1" fmla="*/ 770572 h 770572"/>
                  <a:gd name="connsiteX2" fmla="*/ 0 w 647700"/>
                  <a:gd name="connsiteY2" fmla="*/ 425767 h 770572"/>
                  <a:gd name="connsiteX3" fmla="*/ 323850 w 647700"/>
                  <a:gd name="connsiteY3" fmla="*/ 0 h 770572"/>
                  <a:gd name="connsiteX4" fmla="*/ 647700 w 647700"/>
                  <a:gd name="connsiteY4" fmla="*/ 425767 h 770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7700" h="770572">
                    <a:moveTo>
                      <a:pt x="647700" y="425767"/>
                    </a:moveTo>
                    <a:cubicBezTo>
                      <a:pt x="647700" y="661035"/>
                      <a:pt x="502920" y="770572"/>
                      <a:pt x="323850" y="770572"/>
                    </a:cubicBezTo>
                    <a:cubicBezTo>
                      <a:pt x="144780" y="770572"/>
                      <a:pt x="0" y="661988"/>
                      <a:pt x="0" y="425767"/>
                    </a:cubicBezTo>
                    <a:cubicBezTo>
                      <a:pt x="0" y="190500"/>
                      <a:pt x="144780" y="0"/>
                      <a:pt x="323850" y="0"/>
                    </a:cubicBezTo>
                    <a:cubicBezTo>
                      <a:pt x="502920" y="0"/>
                      <a:pt x="647700" y="190500"/>
                      <a:pt x="647700" y="425767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" name="组合 11"/>
            <p:cNvGrpSpPr/>
            <p:nvPr/>
          </p:nvGrpSpPr>
          <p:grpSpPr>
            <a:xfrm>
              <a:off x="6647339" y="4319587"/>
              <a:ext cx="757237" cy="386715"/>
              <a:chOff x="6612254" y="2386965"/>
              <a:chExt cx="757237" cy="386715"/>
            </a:xfrm>
          </p:grpSpPr>
          <p:sp>
            <p:nvSpPr>
              <p:cNvPr id="40" name="任意多边形 213"/>
              <p:cNvSpPr/>
              <p:nvPr/>
            </p:nvSpPr>
            <p:spPr>
              <a:xfrm>
                <a:off x="6612254" y="2611754"/>
                <a:ext cx="181927" cy="160972"/>
              </a:xfrm>
              <a:custGeom>
                <a:avLst/>
                <a:gdLst>
                  <a:gd name="connsiteX0" fmla="*/ 181927 w 181927"/>
                  <a:gd name="connsiteY0" fmla="*/ 18098 h 160972"/>
                  <a:gd name="connsiteX1" fmla="*/ 178117 w 181927"/>
                  <a:gd name="connsiteY1" fmla="*/ 4763 h 160972"/>
                  <a:gd name="connsiteX2" fmla="*/ 147638 w 181927"/>
                  <a:gd name="connsiteY2" fmla="*/ 0 h 160972"/>
                  <a:gd name="connsiteX3" fmla="*/ 0 w 181927"/>
                  <a:gd name="connsiteY3" fmla="*/ 160973 h 160972"/>
                  <a:gd name="connsiteX4" fmla="*/ 87630 w 181927"/>
                  <a:gd name="connsiteY4" fmla="*/ 160973 h 160972"/>
                  <a:gd name="connsiteX5" fmla="*/ 181927 w 181927"/>
                  <a:gd name="connsiteY5" fmla="*/ 18098 h 160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1927" h="160972">
                    <a:moveTo>
                      <a:pt x="181927" y="18098"/>
                    </a:moveTo>
                    <a:cubicBezTo>
                      <a:pt x="180975" y="14288"/>
                      <a:pt x="179070" y="9525"/>
                      <a:pt x="178117" y="4763"/>
                    </a:cubicBezTo>
                    <a:cubicBezTo>
                      <a:pt x="168592" y="1905"/>
                      <a:pt x="158115" y="0"/>
                      <a:pt x="147638" y="0"/>
                    </a:cubicBezTo>
                    <a:cubicBezTo>
                      <a:pt x="79057" y="0"/>
                      <a:pt x="20002" y="67627"/>
                      <a:pt x="0" y="160973"/>
                    </a:cubicBezTo>
                    <a:lnTo>
                      <a:pt x="87630" y="160973"/>
                    </a:lnTo>
                    <a:cubicBezTo>
                      <a:pt x="112395" y="103823"/>
                      <a:pt x="144780" y="55245"/>
                      <a:pt x="181927" y="180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 214"/>
              <p:cNvSpPr/>
              <p:nvPr/>
            </p:nvSpPr>
            <p:spPr>
              <a:xfrm>
                <a:off x="6781799" y="2386965"/>
                <a:ext cx="313372" cy="340994"/>
              </a:xfrm>
              <a:custGeom>
                <a:avLst/>
                <a:gdLst>
                  <a:gd name="connsiteX0" fmla="*/ 170497 w 313372"/>
                  <a:gd name="connsiteY0" fmla="*/ 262890 h 340994"/>
                  <a:gd name="connsiteX1" fmla="*/ 313372 w 313372"/>
                  <a:gd name="connsiteY1" fmla="*/ 131445 h 340994"/>
                  <a:gd name="connsiteX2" fmla="*/ 166688 w 313372"/>
                  <a:gd name="connsiteY2" fmla="*/ 0 h 340994"/>
                  <a:gd name="connsiteX3" fmla="*/ 0 w 313372"/>
                  <a:gd name="connsiteY3" fmla="*/ 250507 h 340994"/>
                  <a:gd name="connsiteX4" fmla="*/ 9525 w 313372"/>
                  <a:gd name="connsiteY4" fmla="*/ 327660 h 340994"/>
                  <a:gd name="connsiteX5" fmla="*/ 13335 w 313372"/>
                  <a:gd name="connsiteY5" fmla="*/ 340995 h 340994"/>
                  <a:gd name="connsiteX6" fmla="*/ 170497 w 313372"/>
                  <a:gd name="connsiteY6" fmla="*/ 262890 h 340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3372" h="340994">
                    <a:moveTo>
                      <a:pt x="170497" y="262890"/>
                    </a:moveTo>
                    <a:cubicBezTo>
                      <a:pt x="204788" y="195263"/>
                      <a:pt x="255270" y="147638"/>
                      <a:pt x="313372" y="131445"/>
                    </a:cubicBezTo>
                    <a:cubicBezTo>
                      <a:pt x="284797" y="53340"/>
                      <a:pt x="230505" y="0"/>
                      <a:pt x="166688" y="0"/>
                    </a:cubicBezTo>
                    <a:cubicBezTo>
                      <a:pt x="74295" y="0"/>
                      <a:pt x="0" y="112395"/>
                      <a:pt x="0" y="250507"/>
                    </a:cubicBezTo>
                    <a:cubicBezTo>
                      <a:pt x="0" y="279082"/>
                      <a:pt x="2857" y="304800"/>
                      <a:pt x="9525" y="327660"/>
                    </a:cubicBezTo>
                    <a:cubicBezTo>
                      <a:pt x="10478" y="332422"/>
                      <a:pt x="12382" y="336232"/>
                      <a:pt x="13335" y="340995"/>
                    </a:cubicBezTo>
                    <a:cubicBezTo>
                      <a:pt x="58103" y="295275"/>
                      <a:pt x="112395" y="267652"/>
                      <a:pt x="170497" y="262890"/>
                    </a:cubicBezTo>
                    <a:close/>
                  </a:path>
                </a:pathLst>
              </a:custGeom>
              <a:solidFill>
                <a:srgbClr val="3BA24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 215"/>
              <p:cNvSpPr/>
              <p:nvPr/>
            </p:nvSpPr>
            <p:spPr>
              <a:xfrm>
                <a:off x="6952296" y="2413634"/>
                <a:ext cx="417195" cy="359092"/>
              </a:xfrm>
              <a:custGeom>
                <a:avLst/>
                <a:gdLst>
                  <a:gd name="connsiteX0" fmla="*/ 0 w 417195"/>
                  <a:gd name="connsiteY0" fmla="*/ 138113 h 359092"/>
                  <a:gd name="connsiteX1" fmla="*/ 18097 w 417195"/>
                  <a:gd name="connsiteY1" fmla="*/ 137160 h 359092"/>
                  <a:gd name="connsiteX2" fmla="*/ 287655 w 417195"/>
                  <a:gd name="connsiteY2" fmla="*/ 359093 h 359092"/>
                  <a:gd name="connsiteX3" fmla="*/ 417195 w 417195"/>
                  <a:gd name="connsiteY3" fmla="*/ 359093 h 359092"/>
                  <a:gd name="connsiteX4" fmla="*/ 417195 w 417195"/>
                  <a:gd name="connsiteY4" fmla="*/ 350520 h 359092"/>
                  <a:gd name="connsiteX5" fmla="*/ 184785 w 417195"/>
                  <a:gd name="connsiteY5" fmla="*/ 0 h 359092"/>
                  <a:gd name="connsiteX6" fmla="*/ 142875 w 417195"/>
                  <a:gd name="connsiteY6" fmla="*/ 5715 h 359092"/>
                  <a:gd name="connsiteX7" fmla="*/ 0 w 417195"/>
                  <a:gd name="connsiteY7" fmla="*/ 138113 h 359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195" h="359092">
                    <a:moveTo>
                      <a:pt x="0" y="138113"/>
                    </a:moveTo>
                    <a:cubicBezTo>
                      <a:pt x="5715" y="137160"/>
                      <a:pt x="11430" y="137160"/>
                      <a:pt x="18097" y="137160"/>
                    </a:cubicBezTo>
                    <a:cubicBezTo>
                      <a:pt x="131445" y="137160"/>
                      <a:pt x="230505" y="225743"/>
                      <a:pt x="287655" y="359093"/>
                    </a:cubicBezTo>
                    <a:lnTo>
                      <a:pt x="417195" y="359093"/>
                    </a:lnTo>
                    <a:cubicBezTo>
                      <a:pt x="417195" y="356235"/>
                      <a:pt x="417195" y="353378"/>
                      <a:pt x="417195" y="350520"/>
                    </a:cubicBezTo>
                    <a:cubicBezTo>
                      <a:pt x="417195" y="157163"/>
                      <a:pt x="313372" y="0"/>
                      <a:pt x="184785" y="0"/>
                    </a:cubicBezTo>
                    <a:cubicBezTo>
                      <a:pt x="170497" y="0"/>
                      <a:pt x="156210" y="1905"/>
                      <a:pt x="142875" y="5715"/>
                    </a:cubicBezTo>
                    <a:cubicBezTo>
                      <a:pt x="84772" y="22860"/>
                      <a:pt x="34290" y="70485"/>
                      <a:pt x="0" y="138113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 216"/>
              <p:cNvSpPr/>
              <p:nvPr/>
            </p:nvSpPr>
            <p:spPr>
              <a:xfrm>
                <a:off x="6699884" y="2550795"/>
                <a:ext cx="540067" cy="222885"/>
              </a:xfrm>
              <a:custGeom>
                <a:avLst/>
                <a:gdLst>
                  <a:gd name="connsiteX0" fmla="*/ 270510 w 540067"/>
                  <a:gd name="connsiteY0" fmla="*/ 0 h 222885"/>
                  <a:gd name="connsiteX1" fmla="*/ 252413 w 540067"/>
                  <a:gd name="connsiteY1" fmla="*/ 952 h 222885"/>
                  <a:gd name="connsiteX2" fmla="*/ 94297 w 540067"/>
                  <a:gd name="connsiteY2" fmla="*/ 79058 h 222885"/>
                  <a:gd name="connsiteX3" fmla="*/ 0 w 540067"/>
                  <a:gd name="connsiteY3" fmla="*/ 222885 h 222885"/>
                  <a:gd name="connsiteX4" fmla="*/ 540068 w 540067"/>
                  <a:gd name="connsiteY4" fmla="*/ 222885 h 222885"/>
                  <a:gd name="connsiteX5" fmla="*/ 270510 w 540067"/>
                  <a:gd name="connsiteY5" fmla="*/ 0 h 222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0067" h="222885">
                    <a:moveTo>
                      <a:pt x="270510" y="0"/>
                    </a:moveTo>
                    <a:cubicBezTo>
                      <a:pt x="264795" y="0"/>
                      <a:pt x="258128" y="0"/>
                      <a:pt x="252413" y="952"/>
                    </a:cubicBezTo>
                    <a:cubicBezTo>
                      <a:pt x="194310" y="5715"/>
                      <a:pt x="140970" y="34290"/>
                      <a:pt x="94297" y="79058"/>
                    </a:cubicBezTo>
                    <a:cubicBezTo>
                      <a:pt x="56197" y="116205"/>
                      <a:pt x="24765" y="164783"/>
                      <a:pt x="0" y="222885"/>
                    </a:cubicBezTo>
                    <a:lnTo>
                      <a:pt x="540068" y="222885"/>
                    </a:lnTo>
                    <a:cubicBezTo>
                      <a:pt x="482918" y="88583"/>
                      <a:pt x="383858" y="0"/>
                      <a:pt x="27051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8914289" y="4138612"/>
              <a:ext cx="578168" cy="567690"/>
              <a:chOff x="8879204" y="2205990"/>
              <a:chExt cx="578168" cy="567690"/>
            </a:xfrm>
          </p:grpSpPr>
          <p:grpSp>
            <p:nvGrpSpPr>
              <p:cNvPr id="28" name="组合 27"/>
              <p:cNvGrpSpPr/>
              <p:nvPr/>
            </p:nvGrpSpPr>
            <p:grpSpPr>
              <a:xfrm>
                <a:off x="8879204" y="2205990"/>
                <a:ext cx="342900" cy="567690"/>
                <a:chOff x="8879204" y="2205990"/>
                <a:chExt cx="342900" cy="567690"/>
              </a:xfrm>
            </p:grpSpPr>
            <p:sp>
              <p:nvSpPr>
                <p:cNvPr id="34" name="任意多边形 220"/>
                <p:cNvSpPr/>
                <p:nvPr/>
              </p:nvSpPr>
              <p:spPr>
                <a:xfrm>
                  <a:off x="9023984" y="2238375"/>
                  <a:ext cx="60007" cy="535305"/>
                </a:xfrm>
                <a:custGeom>
                  <a:avLst/>
                  <a:gdLst>
                    <a:gd name="connsiteX0" fmla="*/ 60007 w 60007"/>
                    <a:gd name="connsiteY0" fmla="*/ 535305 h 535305"/>
                    <a:gd name="connsiteX1" fmla="*/ 0 w 60007"/>
                    <a:gd name="connsiteY1" fmla="*/ 535305 h 535305"/>
                    <a:gd name="connsiteX2" fmla="*/ 20955 w 60007"/>
                    <a:gd name="connsiteY2" fmla="*/ 0 h 535305"/>
                    <a:gd name="connsiteX3" fmla="*/ 39052 w 60007"/>
                    <a:gd name="connsiteY3" fmla="*/ 0 h 535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007" h="535305">
                      <a:moveTo>
                        <a:pt x="60007" y="535305"/>
                      </a:moveTo>
                      <a:lnTo>
                        <a:pt x="0" y="535305"/>
                      </a:lnTo>
                      <a:lnTo>
                        <a:pt x="20955" y="0"/>
                      </a:lnTo>
                      <a:lnTo>
                        <a:pt x="39052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35" name="组合 34"/>
                <p:cNvGrpSpPr/>
                <p:nvPr/>
              </p:nvGrpSpPr>
              <p:grpSpPr>
                <a:xfrm>
                  <a:off x="8879204" y="2205990"/>
                  <a:ext cx="342900" cy="567690"/>
                  <a:chOff x="8879204" y="2205990"/>
                  <a:chExt cx="342900" cy="567690"/>
                </a:xfrm>
              </p:grpSpPr>
              <p:sp>
                <p:nvSpPr>
                  <p:cNvPr id="36" name="任意多边形 222"/>
                  <p:cNvSpPr/>
                  <p:nvPr/>
                </p:nvSpPr>
                <p:spPr>
                  <a:xfrm>
                    <a:off x="8879204" y="2546984"/>
                    <a:ext cx="342900" cy="226695"/>
                  </a:xfrm>
                  <a:custGeom>
                    <a:avLst/>
                    <a:gdLst>
                      <a:gd name="connsiteX0" fmla="*/ 170497 w 342900"/>
                      <a:gd name="connsiteY0" fmla="*/ 0 h 226695"/>
                      <a:gd name="connsiteX1" fmla="*/ 0 w 342900"/>
                      <a:gd name="connsiteY1" fmla="*/ 226695 h 226695"/>
                      <a:gd name="connsiteX2" fmla="*/ 171450 w 342900"/>
                      <a:gd name="connsiteY2" fmla="*/ 226695 h 226695"/>
                      <a:gd name="connsiteX3" fmla="*/ 342900 w 342900"/>
                      <a:gd name="connsiteY3" fmla="*/ 226695 h 2266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42900" h="226695">
                        <a:moveTo>
                          <a:pt x="170497" y="0"/>
                        </a:moveTo>
                        <a:lnTo>
                          <a:pt x="0" y="226695"/>
                        </a:lnTo>
                        <a:lnTo>
                          <a:pt x="171450" y="226695"/>
                        </a:lnTo>
                        <a:lnTo>
                          <a:pt x="342900" y="226695"/>
                        </a:lnTo>
                        <a:close/>
                      </a:path>
                    </a:pathLst>
                  </a:custGeom>
                  <a:solidFill>
                    <a:srgbClr val="006738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7" name="任意多边形 223"/>
                  <p:cNvSpPr/>
                  <p:nvPr/>
                </p:nvSpPr>
                <p:spPr>
                  <a:xfrm>
                    <a:off x="8893492" y="2415540"/>
                    <a:ext cx="313372" cy="191452"/>
                  </a:xfrm>
                  <a:custGeom>
                    <a:avLst/>
                    <a:gdLst>
                      <a:gd name="connsiteX0" fmla="*/ 155257 w 313372"/>
                      <a:gd name="connsiteY0" fmla="*/ 0 h 191452"/>
                      <a:gd name="connsiteX1" fmla="*/ 0 w 313372"/>
                      <a:gd name="connsiteY1" fmla="*/ 191452 h 191452"/>
                      <a:gd name="connsiteX2" fmla="*/ 156210 w 313372"/>
                      <a:gd name="connsiteY2" fmla="*/ 191452 h 191452"/>
                      <a:gd name="connsiteX3" fmla="*/ 313372 w 313372"/>
                      <a:gd name="connsiteY3" fmla="*/ 191452 h 1914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13372" h="191452">
                        <a:moveTo>
                          <a:pt x="155257" y="0"/>
                        </a:moveTo>
                        <a:lnTo>
                          <a:pt x="0" y="191452"/>
                        </a:lnTo>
                        <a:lnTo>
                          <a:pt x="156210" y="191452"/>
                        </a:lnTo>
                        <a:lnTo>
                          <a:pt x="313372" y="191452"/>
                        </a:lnTo>
                        <a:close/>
                      </a:path>
                    </a:pathLst>
                  </a:custGeom>
                  <a:solidFill>
                    <a:srgbClr val="029344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8" name="任意多边形 224"/>
                  <p:cNvSpPr/>
                  <p:nvPr/>
                </p:nvSpPr>
                <p:spPr>
                  <a:xfrm>
                    <a:off x="8904922" y="2303145"/>
                    <a:ext cx="288607" cy="163829"/>
                  </a:xfrm>
                  <a:custGeom>
                    <a:avLst/>
                    <a:gdLst>
                      <a:gd name="connsiteX0" fmla="*/ 143827 w 288607"/>
                      <a:gd name="connsiteY0" fmla="*/ 0 h 163829"/>
                      <a:gd name="connsiteX1" fmla="*/ 0 w 288607"/>
                      <a:gd name="connsiteY1" fmla="*/ 163830 h 163829"/>
                      <a:gd name="connsiteX2" fmla="*/ 144780 w 288607"/>
                      <a:gd name="connsiteY2" fmla="*/ 163830 h 163829"/>
                      <a:gd name="connsiteX3" fmla="*/ 288607 w 288607"/>
                      <a:gd name="connsiteY3" fmla="*/ 163830 h 1638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88607" h="163829">
                        <a:moveTo>
                          <a:pt x="143827" y="0"/>
                        </a:moveTo>
                        <a:lnTo>
                          <a:pt x="0" y="163830"/>
                        </a:lnTo>
                        <a:lnTo>
                          <a:pt x="144780" y="163830"/>
                        </a:lnTo>
                        <a:lnTo>
                          <a:pt x="288607" y="163830"/>
                        </a:lnTo>
                        <a:close/>
                      </a:path>
                    </a:pathLst>
                  </a:custGeom>
                  <a:solidFill>
                    <a:srgbClr val="6EB13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9" name="任意多边形 225"/>
                  <p:cNvSpPr/>
                  <p:nvPr/>
                </p:nvSpPr>
                <p:spPr>
                  <a:xfrm>
                    <a:off x="8915399" y="2205990"/>
                    <a:ext cx="266700" cy="140969"/>
                  </a:xfrm>
                  <a:custGeom>
                    <a:avLst/>
                    <a:gdLst>
                      <a:gd name="connsiteX0" fmla="*/ 132398 w 266700"/>
                      <a:gd name="connsiteY0" fmla="*/ 0 h 140969"/>
                      <a:gd name="connsiteX1" fmla="*/ 0 w 266700"/>
                      <a:gd name="connsiteY1" fmla="*/ 140970 h 140969"/>
                      <a:gd name="connsiteX2" fmla="*/ 133350 w 266700"/>
                      <a:gd name="connsiteY2" fmla="*/ 140970 h 140969"/>
                      <a:gd name="connsiteX3" fmla="*/ 266700 w 266700"/>
                      <a:gd name="connsiteY3" fmla="*/ 140970 h 1409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66700" h="140969">
                        <a:moveTo>
                          <a:pt x="132398" y="0"/>
                        </a:moveTo>
                        <a:lnTo>
                          <a:pt x="0" y="140970"/>
                        </a:lnTo>
                        <a:lnTo>
                          <a:pt x="133350" y="140970"/>
                        </a:lnTo>
                        <a:lnTo>
                          <a:pt x="266700" y="140970"/>
                        </a:lnTo>
                        <a:close/>
                      </a:path>
                    </a:pathLst>
                  </a:custGeom>
                  <a:solidFill>
                    <a:srgbClr val="92C33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29" name="组合 28"/>
              <p:cNvGrpSpPr/>
              <p:nvPr/>
            </p:nvGrpSpPr>
            <p:grpSpPr>
              <a:xfrm>
                <a:off x="9019222" y="2615565"/>
                <a:ext cx="438150" cy="158115"/>
                <a:chOff x="9019222" y="2615565"/>
                <a:chExt cx="438150" cy="158115"/>
              </a:xfrm>
            </p:grpSpPr>
            <p:sp>
              <p:nvSpPr>
                <p:cNvPr id="30" name="任意多边形 228"/>
                <p:cNvSpPr/>
                <p:nvPr/>
              </p:nvSpPr>
              <p:spPr>
                <a:xfrm>
                  <a:off x="9088754" y="2615565"/>
                  <a:ext cx="317182" cy="158115"/>
                </a:xfrm>
                <a:custGeom>
                  <a:avLst/>
                  <a:gdLst>
                    <a:gd name="connsiteX0" fmla="*/ 158115 w 317182"/>
                    <a:gd name="connsiteY0" fmla="*/ 0 h 158115"/>
                    <a:gd name="connsiteX1" fmla="*/ 0 w 317182"/>
                    <a:gd name="connsiteY1" fmla="*/ 158115 h 158115"/>
                    <a:gd name="connsiteX2" fmla="*/ 317182 w 317182"/>
                    <a:gd name="connsiteY2" fmla="*/ 158115 h 158115"/>
                    <a:gd name="connsiteX3" fmla="*/ 158115 w 317182"/>
                    <a:gd name="connsiteY3" fmla="*/ 0 h 1581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7182" h="158115">
                      <a:moveTo>
                        <a:pt x="158115" y="0"/>
                      </a:moveTo>
                      <a:cubicBezTo>
                        <a:pt x="70485" y="0"/>
                        <a:pt x="0" y="70485"/>
                        <a:pt x="0" y="158115"/>
                      </a:cubicBezTo>
                      <a:lnTo>
                        <a:pt x="317182" y="158115"/>
                      </a:lnTo>
                      <a:cubicBezTo>
                        <a:pt x="317182" y="70485"/>
                        <a:pt x="245745" y="0"/>
                        <a:pt x="158115" y="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1" name="任意多边形 229"/>
                <p:cNvSpPr/>
                <p:nvPr/>
              </p:nvSpPr>
              <p:spPr>
                <a:xfrm>
                  <a:off x="9019222" y="2677477"/>
                  <a:ext cx="190500" cy="95250"/>
                </a:xfrm>
                <a:custGeom>
                  <a:avLst/>
                  <a:gdLst>
                    <a:gd name="connsiteX0" fmla="*/ 95250 w 190500"/>
                    <a:gd name="connsiteY0" fmla="*/ 0 h 95250"/>
                    <a:gd name="connsiteX1" fmla="*/ 0 w 190500"/>
                    <a:gd name="connsiteY1" fmla="*/ 95250 h 95250"/>
                    <a:gd name="connsiteX2" fmla="*/ 190500 w 190500"/>
                    <a:gd name="connsiteY2" fmla="*/ 95250 h 95250"/>
                    <a:gd name="connsiteX3" fmla="*/ 95250 w 190500"/>
                    <a:gd name="connsiteY3" fmla="*/ 0 h 95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0500" h="95250">
                      <a:moveTo>
                        <a:pt x="95250" y="0"/>
                      </a:moveTo>
                      <a:cubicBezTo>
                        <a:pt x="42863" y="0"/>
                        <a:pt x="0" y="42863"/>
                        <a:pt x="0" y="95250"/>
                      </a:cubicBezTo>
                      <a:lnTo>
                        <a:pt x="190500" y="95250"/>
                      </a:lnTo>
                      <a:cubicBezTo>
                        <a:pt x="190500" y="42863"/>
                        <a:pt x="148590" y="0"/>
                        <a:pt x="95250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2" name="任意多边形 230"/>
                <p:cNvSpPr/>
                <p:nvPr/>
              </p:nvSpPr>
              <p:spPr>
                <a:xfrm>
                  <a:off x="9139237" y="2706052"/>
                  <a:ext cx="134324" cy="67627"/>
                </a:xfrm>
                <a:custGeom>
                  <a:avLst/>
                  <a:gdLst>
                    <a:gd name="connsiteX0" fmla="*/ 67627 w 134324"/>
                    <a:gd name="connsiteY0" fmla="*/ 0 h 67627"/>
                    <a:gd name="connsiteX1" fmla="*/ 0 w 134324"/>
                    <a:gd name="connsiteY1" fmla="*/ 67628 h 67627"/>
                    <a:gd name="connsiteX2" fmla="*/ 134302 w 134324"/>
                    <a:gd name="connsiteY2" fmla="*/ 67628 h 67627"/>
                    <a:gd name="connsiteX3" fmla="*/ 67627 w 134324"/>
                    <a:gd name="connsiteY3" fmla="*/ 0 h 67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4324" h="67627">
                      <a:moveTo>
                        <a:pt x="67627" y="0"/>
                      </a:moveTo>
                      <a:cubicBezTo>
                        <a:pt x="30480" y="0"/>
                        <a:pt x="0" y="30480"/>
                        <a:pt x="0" y="67628"/>
                      </a:cubicBezTo>
                      <a:lnTo>
                        <a:pt x="134302" y="67628"/>
                      </a:lnTo>
                      <a:cubicBezTo>
                        <a:pt x="135255" y="30480"/>
                        <a:pt x="104775" y="0"/>
                        <a:pt x="67627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3" name="任意多边形 231"/>
                <p:cNvSpPr/>
                <p:nvPr/>
              </p:nvSpPr>
              <p:spPr>
                <a:xfrm>
                  <a:off x="9332594" y="2710815"/>
                  <a:ext cx="124777" cy="62865"/>
                </a:xfrm>
                <a:custGeom>
                  <a:avLst/>
                  <a:gdLst>
                    <a:gd name="connsiteX0" fmla="*/ 62865 w 124777"/>
                    <a:gd name="connsiteY0" fmla="*/ 0 h 62865"/>
                    <a:gd name="connsiteX1" fmla="*/ 0 w 124777"/>
                    <a:gd name="connsiteY1" fmla="*/ 62865 h 62865"/>
                    <a:gd name="connsiteX2" fmla="*/ 124778 w 124777"/>
                    <a:gd name="connsiteY2" fmla="*/ 62865 h 62865"/>
                    <a:gd name="connsiteX3" fmla="*/ 62865 w 124777"/>
                    <a:gd name="connsiteY3" fmla="*/ 0 h 62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4777" h="62865">
                      <a:moveTo>
                        <a:pt x="62865" y="0"/>
                      </a:moveTo>
                      <a:cubicBezTo>
                        <a:pt x="28575" y="0"/>
                        <a:pt x="0" y="27622"/>
                        <a:pt x="0" y="62865"/>
                      </a:cubicBezTo>
                      <a:lnTo>
                        <a:pt x="124778" y="62865"/>
                      </a:lnTo>
                      <a:cubicBezTo>
                        <a:pt x="124778" y="27622"/>
                        <a:pt x="97155" y="0"/>
                        <a:pt x="62865" y="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4" name="组合 13"/>
            <p:cNvGrpSpPr/>
            <p:nvPr/>
          </p:nvGrpSpPr>
          <p:grpSpPr>
            <a:xfrm>
              <a:off x="2772569" y="4065269"/>
              <a:ext cx="704850" cy="641032"/>
              <a:chOff x="2737484" y="2132647"/>
              <a:chExt cx="704850" cy="641032"/>
            </a:xfrm>
          </p:grpSpPr>
          <p:sp>
            <p:nvSpPr>
              <p:cNvPr id="15" name="任意多边形 233"/>
              <p:cNvSpPr/>
              <p:nvPr/>
            </p:nvSpPr>
            <p:spPr>
              <a:xfrm>
                <a:off x="2987992" y="2646045"/>
                <a:ext cx="340058" cy="127635"/>
              </a:xfrm>
              <a:custGeom>
                <a:avLst/>
                <a:gdLst>
                  <a:gd name="connsiteX0" fmla="*/ 250508 w 340058"/>
                  <a:gd name="connsiteY0" fmla="*/ 37148 h 127635"/>
                  <a:gd name="connsiteX1" fmla="*/ 221933 w 340058"/>
                  <a:gd name="connsiteY1" fmla="*/ 41910 h 127635"/>
                  <a:gd name="connsiteX2" fmla="*/ 127635 w 340058"/>
                  <a:gd name="connsiteY2" fmla="*/ 0 h 127635"/>
                  <a:gd name="connsiteX3" fmla="*/ 0 w 340058"/>
                  <a:gd name="connsiteY3" fmla="*/ 127635 h 127635"/>
                  <a:gd name="connsiteX4" fmla="*/ 160020 w 340058"/>
                  <a:gd name="connsiteY4" fmla="*/ 127635 h 127635"/>
                  <a:gd name="connsiteX5" fmla="*/ 254318 w 340058"/>
                  <a:gd name="connsiteY5" fmla="*/ 127635 h 127635"/>
                  <a:gd name="connsiteX6" fmla="*/ 340043 w 340058"/>
                  <a:gd name="connsiteY6" fmla="*/ 127635 h 127635"/>
                  <a:gd name="connsiteX7" fmla="*/ 250508 w 340058"/>
                  <a:gd name="connsiteY7" fmla="*/ 37148 h 127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0058" h="127635">
                    <a:moveTo>
                      <a:pt x="250508" y="37148"/>
                    </a:moveTo>
                    <a:cubicBezTo>
                      <a:pt x="240030" y="37148"/>
                      <a:pt x="230505" y="39052"/>
                      <a:pt x="221933" y="41910"/>
                    </a:cubicBezTo>
                    <a:cubicBezTo>
                      <a:pt x="198120" y="16192"/>
                      <a:pt x="164783" y="0"/>
                      <a:pt x="127635" y="0"/>
                    </a:cubicBezTo>
                    <a:cubicBezTo>
                      <a:pt x="57150" y="0"/>
                      <a:pt x="0" y="57150"/>
                      <a:pt x="0" y="127635"/>
                    </a:cubicBezTo>
                    <a:lnTo>
                      <a:pt x="160020" y="127635"/>
                    </a:lnTo>
                    <a:lnTo>
                      <a:pt x="254318" y="127635"/>
                    </a:lnTo>
                    <a:lnTo>
                      <a:pt x="340043" y="127635"/>
                    </a:lnTo>
                    <a:cubicBezTo>
                      <a:pt x="340995" y="77152"/>
                      <a:pt x="300038" y="37148"/>
                      <a:pt x="250508" y="37148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6" name="组合 15"/>
              <p:cNvGrpSpPr/>
              <p:nvPr/>
            </p:nvGrpSpPr>
            <p:grpSpPr>
              <a:xfrm>
                <a:off x="2737484" y="2132647"/>
                <a:ext cx="704850" cy="640080"/>
                <a:chOff x="2737484" y="2132647"/>
                <a:chExt cx="704850" cy="640080"/>
              </a:xfrm>
            </p:grpSpPr>
            <p:sp>
              <p:nvSpPr>
                <p:cNvPr id="18" name="任意多边形 235"/>
                <p:cNvSpPr/>
                <p:nvPr/>
              </p:nvSpPr>
              <p:spPr>
                <a:xfrm>
                  <a:off x="3063239" y="2425065"/>
                  <a:ext cx="49530" cy="347662"/>
                </a:xfrm>
                <a:custGeom>
                  <a:avLst/>
                  <a:gdLst>
                    <a:gd name="connsiteX0" fmla="*/ 0 w 49530"/>
                    <a:gd name="connsiteY0" fmla="*/ 347663 h 347662"/>
                    <a:gd name="connsiteX1" fmla="*/ 49530 w 49530"/>
                    <a:gd name="connsiteY1" fmla="*/ 347663 h 347662"/>
                    <a:gd name="connsiteX2" fmla="*/ 43815 w 49530"/>
                    <a:gd name="connsiteY2" fmla="*/ 0 h 347662"/>
                    <a:gd name="connsiteX3" fmla="*/ 8573 w 49530"/>
                    <a:gd name="connsiteY3" fmla="*/ 0 h 347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9530" h="347662">
                      <a:moveTo>
                        <a:pt x="0" y="347663"/>
                      </a:moveTo>
                      <a:lnTo>
                        <a:pt x="49530" y="347663"/>
                      </a:lnTo>
                      <a:lnTo>
                        <a:pt x="43815" y="0"/>
                      </a:lnTo>
                      <a:lnTo>
                        <a:pt x="8573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" name="任意多边形 236"/>
                <p:cNvSpPr/>
                <p:nvPr/>
              </p:nvSpPr>
              <p:spPr>
                <a:xfrm>
                  <a:off x="3097529" y="2373629"/>
                  <a:ext cx="150866" cy="200025"/>
                </a:xfrm>
                <a:custGeom>
                  <a:avLst/>
                  <a:gdLst>
                    <a:gd name="connsiteX0" fmla="*/ 952 w 150866"/>
                    <a:gd name="connsiteY0" fmla="*/ 158115 h 200025"/>
                    <a:gd name="connsiteX1" fmla="*/ 110490 w 150866"/>
                    <a:gd name="connsiteY1" fmla="*/ 0 h 200025"/>
                    <a:gd name="connsiteX2" fmla="*/ 149543 w 150866"/>
                    <a:gd name="connsiteY2" fmla="*/ 6667 h 200025"/>
                    <a:gd name="connsiteX3" fmla="*/ 0 w 150866"/>
                    <a:gd name="connsiteY3" fmla="*/ 200025 h 200025"/>
                    <a:gd name="connsiteX4" fmla="*/ 952 w 150866"/>
                    <a:gd name="connsiteY4" fmla="*/ 158115 h 200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66" h="200025">
                      <a:moveTo>
                        <a:pt x="952" y="158115"/>
                      </a:moveTo>
                      <a:cubicBezTo>
                        <a:pt x="952" y="158115"/>
                        <a:pt x="152400" y="141923"/>
                        <a:pt x="110490" y="0"/>
                      </a:cubicBezTo>
                      <a:lnTo>
                        <a:pt x="149543" y="6667"/>
                      </a:lnTo>
                      <a:cubicBezTo>
                        <a:pt x="149543" y="6667"/>
                        <a:pt x="175260" y="144780"/>
                        <a:pt x="0" y="200025"/>
                      </a:cubicBezTo>
                      <a:lnTo>
                        <a:pt x="952" y="158115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" name="任意多边形 237"/>
                <p:cNvSpPr/>
                <p:nvPr/>
              </p:nvSpPr>
              <p:spPr>
                <a:xfrm>
                  <a:off x="2968935" y="2326957"/>
                  <a:ext cx="120973" cy="156209"/>
                </a:xfrm>
                <a:custGeom>
                  <a:avLst/>
                  <a:gdLst>
                    <a:gd name="connsiteX0" fmla="*/ 30486 w 120973"/>
                    <a:gd name="connsiteY0" fmla="*/ 10477 h 156209"/>
                    <a:gd name="connsiteX1" fmla="*/ 120974 w 120973"/>
                    <a:gd name="connsiteY1" fmla="*/ 128588 h 156209"/>
                    <a:gd name="connsiteX2" fmla="*/ 106686 w 120973"/>
                    <a:gd name="connsiteY2" fmla="*/ 156210 h 156209"/>
                    <a:gd name="connsiteX3" fmla="*/ 6 w 120973"/>
                    <a:gd name="connsiteY3" fmla="*/ 0 h 156209"/>
                    <a:gd name="connsiteX4" fmla="*/ 30486 w 120973"/>
                    <a:gd name="connsiteY4" fmla="*/ 10477 h 156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0973" h="156209">
                      <a:moveTo>
                        <a:pt x="30486" y="10477"/>
                      </a:moveTo>
                      <a:cubicBezTo>
                        <a:pt x="30486" y="10477"/>
                        <a:pt x="5721" y="125730"/>
                        <a:pt x="120974" y="128588"/>
                      </a:cubicBezTo>
                      <a:lnTo>
                        <a:pt x="106686" y="156210"/>
                      </a:lnTo>
                      <a:cubicBezTo>
                        <a:pt x="106686" y="156210"/>
                        <a:pt x="-946" y="141922"/>
                        <a:pt x="6" y="0"/>
                      </a:cubicBezTo>
                      <a:lnTo>
                        <a:pt x="30486" y="10477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" name="任意多边形 238"/>
                <p:cNvSpPr/>
                <p:nvPr/>
              </p:nvSpPr>
              <p:spPr>
                <a:xfrm>
                  <a:off x="2832734" y="2346959"/>
                  <a:ext cx="167640" cy="97818"/>
                </a:xfrm>
                <a:custGeom>
                  <a:avLst/>
                  <a:gdLst>
                    <a:gd name="connsiteX0" fmla="*/ 32385 w 167640"/>
                    <a:gd name="connsiteY0" fmla="*/ 0 h 97818"/>
                    <a:gd name="connsiteX1" fmla="*/ 167640 w 167640"/>
                    <a:gd name="connsiteY1" fmla="*/ 61913 h 97818"/>
                    <a:gd name="connsiteX2" fmla="*/ 167640 w 167640"/>
                    <a:gd name="connsiteY2" fmla="*/ 92393 h 97818"/>
                    <a:gd name="connsiteX3" fmla="*/ 0 w 167640"/>
                    <a:gd name="connsiteY3" fmla="*/ 4763 h 97818"/>
                    <a:gd name="connsiteX4" fmla="*/ 32385 w 167640"/>
                    <a:gd name="connsiteY4" fmla="*/ 0 h 97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97818">
                      <a:moveTo>
                        <a:pt x="32385" y="0"/>
                      </a:moveTo>
                      <a:cubicBezTo>
                        <a:pt x="32385" y="0"/>
                        <a:pt x="64770" y="112395"/>
                        <a:pt x="167640" y="61913"/>
                      </a:cubicBezTo>
                      <a:lnTo>
                        <a:pt x="167640" y="92393"/>
                      </a:lnTo>
                      <a:cubicBezTo>
                        <a:pt x="167640" y="92393"/>
                        <a:pt x="65723" y="130493"/>
                        <a:pt x="0" y="4763"/>
                      </a:cubicBezTo>
                      <a:lnTo>
                        <a:pt x="32385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" name="任意多边形 239"/>
                <p:cNvSpPr/>
                <p:nvPr/>
              </p:nvSpPr>
              <p:spPr>
                <a:xfrm>
                  <a:off x="3191826" y="2437447"/>
                  <a:ext cx="179070" cy="91847"/>
                </a:xfrm>
                <a:custGeom>
                  <a:avLst/>
                  <a:gdLst>
                    <a:gd name="connsiteX0" fmla="*/ 18098 w 179070"/>
                    <a:gd name="connsiteY0" fmla="*/ 56198 h 91847"/>
                    <a:gd name="connsiteX1" fmla="*/ 156210 w 179070"/>
                    <a:gd name="connsiteY1" fmla="*/ 0 h 91847"/>
                    <a:gd name="connsiteX2" fmla="*/ 179070 w 179070"/>
                    <a:gd name="connsiteY2" fmla="*/ 20955 h 91847"/>
                    <a:gd name="connsiteX3" fmla="*/ 0 w 179070"/>
                    <a:gd name="connsiteY3" fmla="*/ 82868 h 91847"/>
                    <a:gd name="connsiteX4" fmla="*/ 18098 w 179070"/>
                    <a:gd name="connsiteY4" fmla="*/ 56198 h 91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9070" h="91847">
                      <a:moveTo>
                        <a:pt x="18098" y="56198"/>
                      </a:moveTo>
                      <a:cubicBezTo>
                        <a:pt x="18098" y="56198"/>
                        <a:pt x="122873" y="109538"/>
                        <a:pt x="156210" y="0"/>
                      </a:cubicBezTo>
                      <a:lnTo>
                        <a:pt x="179070" y="20955"/>
                      </a:lnTo>
                      <a:cubicBezTo>
                        <a:pt x="179070" y="20955"/>
                        <a:pt x="137160" y="121920"/>
                        <a:pt x="0" y="82868"/>
                      </a:cubicBezTo>
                      <a:lnTo>
                        <a:pt x="18098" y="56198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" name="任意多边形 240"/>
                <p:cNvSpPr/>
                <p:nvPr/>
              </p:nvSpPr>
              <p:spPr>
                <a:xfrm>
                  <a:off x="2895599" y="2154554"/>
                  <a:ext cx="180975" cy="215265"/>
                </a:xfrm>
                <a:custGeom>
                  <a:avLst/>
                  <a:gdLst>
                    <a:gd name="connsiteX0" fmla="*/ 180975 w 180975"/>
                    <a:gd name="connsiteY0" fmla="*/ 119063 h 215265"/>
                    <a:gd name="connsiteX1" fmla="*/ 90488 w 180975"/>
                    <a:gd name="connsiteY1" fmla="*/ 215265 h 215265"/>
                    <a:gd name="connsiteX2" fmla="*/ 0 w 180975"/>
                    <a:gd name="connsiteY2" fmla="*/ 119063 h 215265"/>
                    <a:gd name="connsiteX3" fmla="*/ 90488 w 180975"/>
                    <a:gd name="connsiteY3" fmla="*/ 0 h 215265"/>
                    <a:gd name="connsiteX4" fmla="*/ 180975 w 180975"/>
                    <a:gd name="connsiteY4" fmla="*/ 119063 h 215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975" h="215265">
                      <a:moveTo>
                        <a:pt x="180975" y="119063"/>
                      </a:moveTo>
                      <a:cubicBezTo>
                        <a:pt x="180975" y="184785"/>
                        <a:pt x="140970" y="215265"/>
                        <a:pt x="90488" y="215265"/>
                      </a:cubicBezTo>
                      <a:cubicBezTo>
                        <a:pt x="40957" y="215265"/>
                        <a:pt x="0" y="184785"/>
                        <a:pt x="0" y="119063"/>
                      </a:cubicBezTo>
                      <a:cubicBezTo>
                        <a:pt x="0" y="53340"/>
                        <a:pt x="40005" y="0"/>
                        <a:pt x="90488" y="0"/>
                      </a:cubicBezTo>
                      <a:cubicBezTo>
                        <a:pt x="140018" y="0"/>
                        <a:pt x="180975" y="53340"/>
                        <a:pt x="180975" y="11906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" name="任意多边形 241"/>
                <p:cNvSpPr/>
                <p:nvPr/>
              </p:nvSpPr>
              <p:spPr>
                <a:xfrm>
                  <a:off x="2737484" y="2132647"/>
                  <a:ext cx="217170" cy="259080"/>
                </a:xfrm>
                <a:custGeom>
                  <a:avLst/>
                  <a:gdLst>
                    <a:gd name="connsiteX0" fmla="*/ 217170 w 217170"/>
                    <a:gd name="connsiteY0" fmla="*/ 142875 h 259080"/>
                    <a:gd name="connsiteX1" fmla="*/ 108585 w 217170"/>
                    <a:gd name="connsiteY1" fmla="*/ 259080 h 259080"/>
                    <a:gd name="connsiteX2" fmla="*/ 0 w 217170"/>
                    <a:gd name="connsiteY2" fmla="*/ 142875 h 259080"/>
                    <a:gd name="connsiteX3" fmla="*/ 108585 w 217170"/>
                    <a:gd name="connsiteY3" fmla="*/ 0 h 259080"/>
                    <a:gd name="connsiteX4" fmla="*/ 217170 w 217170"/>
                    <a:gd name="connsiteY4" fmla="*/ 142875 h 259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70" h="259080">
                      <a:moveTo>
                        <a:pt x="217170" y="142875"/>
                      </a:moveTo>
                      <a:cubicBezTo>
                        <a:pt x="217170" y="221933"/>
                        <a:pt x="168593" y="259080"/>
                        <a:pt x="108585" y="259080"/>
                      </a:cubicBezTo>
                      <a:cubicBezTo>
                        <a:pt x="48578" y="259080"/>
                        <a:pt x="0" y="222885"/>
                        <a:pt x="0" y="142875"/>
                      </a:cubicBezTo>
                      <a:cubicBezTo>
                        <a:pt x="0" y="63818"/>
                        <a:pt x="48578" y="0"/>
                        <a:pt x="108585" y="0"/>
                      </a:cubicBezTo>
                      <a:cubicBezTo>
                        <a:pt x="168593" y="0"/>
                        <a:pt x="217170" y="63818"/>
                        <a:pt x="217170" y="142875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5" name="任意多边形 242"/>
                <p:cNvSpPr/>
                <p:nvPr/>
              </p:nvSpPr>
              <p:spPr>
                <a:xfrm>
                  <a:off x="3108959" y="2200275"/>
                  <a:ext cx="217169" cy="218122"/>
                </a:xfrm>
                <a:custGeom>
                  <a:avLst/>
                  <a:gdLst>
                    <a:gd name="connsiteX0" fmla="*/ 217170 w 217169"/>
                    <a:gd name="connsiteY0" fmla="*/ 120967 h 218122"/>
                    <a:gd name="connsiteX1" fmla="*/ 108585 w 217169"/>
                    <a:gd name="connsiteY1" fmla="*/ 218122 h 218122"/>
                    <a:gd name="connsiteX2" fmla="*/ 0 w 217169"/>
                    <a:gd name="connsiteY2" fmla="*/ 120967 h 218122"/>
                    <a:gd name="connsiteX3" fmla="*/ 108585 w 217169"/>
                    <a:gd name="connsiteY3" fmla="*/ 0 h 218122"/>
                    <a:gd name="connsiteX4" fmla="*/ 217170 w 217169"/>
                    <a:gd name="connsiteY4" fmla="*/ 120967 h 218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69" h="218122">
                      <a:moveTo>
                        <a:pt x="217170" y="120967"/>
                      </a:moveTo>
                      <a:cubicBezTo>
                        <a:pt x="217170" y="187642"/>
                        <a:pt x="168592" y="218122"/>
                        <a:pt x="108585" y="218122"/>
                      </a:cubicBezTo>
                      <a:cubicBezTo>
                        <a:pt x="48577" y="218122"/>
                        <a:pt x="0" y="187642"/>
                        <a:pt x="0" y="120967"/>
                      </a:cubicBezTo>
                      <a:cubicBezTo>
                        <a:pt x="0" y="54292"/>
                        <a:pt x="48577" y="0"/>
                        <a:pt x="108585" y="0"/>
                      </a:cubicBezTo>
                      <a:cubicBezTo>
                        <a:pt x="168592" y="0"/>
                        <a:pt x="217170" y="54292"/>
                        <a:pt x="217170" y="120967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6" name="任意多边形 243"/>
                <p:cNvSpPr/>
                <p:nvPr/>
              </p:nvSpPr>
              <p:spPr>
                <a:xfrm>
                  <a:off x="3016567" y="2297429"/>
                  <a:ext cx="142875" cy="144779"/>
                </a:xfrm>
                <a:custGeom>
                  <a:avLst/>
                  <a:gdLst>
                    <a:gd name="connsiteX0" fmla="*/ 142875 w 142875"/>
                    <a:gd name="connsiteY0" fmla="*/ 80010 h 144779"/>
                    <a:gd name="connsiteX1" fmla="*/ 71438 w 142875"/>
                    <a:gd name="connsiteY1" fmla="*/ 144780 h 144779"/>
                    <a:gd name="connsiteX2" fmla="*/ 0 w 142875"/>
                    <a:gd name="connsiteY2" fmla="*/ 80010 h 144779"/>
                    <a:gd name="connsiteX3" fmla="*/ 71438 w 142875"/>
                    <a:gd name="connsiteY3" fmla="*/ 0 h 144779"/>
                    <a:gd name="connsiteX4" fmla="*/ 142875 w 142875"/>
                    <a:gd name="connsiteY4" fmla="*/ 80010 h 144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875" h="144779">
                      <a:moveTo>
                        <a:pt x="142875" y="80010"/>
                      </a:moveTo>
                      <a:cubicBezTo>
                        <a:pt x="142875" y="123825"/>
                        <a:pt x="110490" y="144780"/>
                        <a:pt x="71438" y="144780"/>
                      </a:cubicBezTo>
                      <a:cubicBezTo>
                        <a:pt x="31432" y="144780"/>
                        <a:pt x="0" y="124778"/>
                        <a:pt x="0" y="80010"/>
                      </a:cubicBezTo>
                      <a:cubicBezTo>
                        <a:pt x="0" y="36195"/>
                        <a:pt x="32385" y="0"/>
                        <a:pt x="71438" y="0"/>
                      </a:cubicBezTo>
                      <a:cubicBezTo>
                        <a:pt x="110490" y="0"/>
                        <a:pt x="142875" y="36195"/>
                        <a:pt x="142875" y="8001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7" name="任意多边形 244"/>
                <p:cNvSpPr/>
                <p:nvPr/>
              </p:nvSpPr>
              <p:spPr>
                <a:xfrm>
                  <a:off x="3274694" y="2323147"/>
                  <a:ext cx="167640" cy="167640"/>
                </a:xfrm>
                <a:custGeom>
                  <a:avLst/>
                  <a:gdLst>
                    <a:gd name="connsiteX0" fmla="*/ 167640 w 167640"/>
                    <a:gd name="connsiteY0" fmla="*/ 92393 h 167640"/>
                    <a:gd name="connsiteX1" fmla="*/ 83820 w 167640"/>
                    <a:gd name="connsiteY1" fmla="*/ 167640 h 167640"/>
                    <a:gd name="connsiteX2" fmla="*/ 0 w 167640"/>
                    <a:gd name="connsiteY2" fmla="*/ 92393 h 167640"/>
                    <a:gd name="connsiteX3" fmla="*/ 83820 w 167640"/>
                    <a:gd name="connsiteY3" fmla="*/ 0 h 167640"/>
                    <a:gd name="connsiteX4" fmla="*/ 167640 w 167640"/>
                    <a:gd name="connsiteY4" fmla="*/ 92393 h 1676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167640">
                      <a:moveTo>
                        <a:pt x="167640" y="92393"/>
                      </a:moveTo>
                      <a:cubicBezTo>
                        <a:pt x="167640" y="143828"/>
                        <a:pt x="130493" y="167640"/>
                        <a:pt x="83820" y="167640"/>
                      </a:cubicBezTo>
                      <a:cubicBezTo>
                        <a:pt x="38100" y="167640"/>
                        <a:pt x="0" y="143828"/>
                        <a:pt x="0" y="92393"/>
                      </a:cubicBezTo>
                      <a:cubicBezTo>
                        <a:pt x="0" y="40958"/>
                        <a:pt x="37148" y="0"/>
                        <a:pt x="83820" y="0"/>
                      </a:cubicBezTo>
                      <a:cubicBezTo>
                        <a:pt x="129540" y="0"/>
                        <a:pt x="167640" y="40958"/>
                        <a:pt x="167640" y="9239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7" name="任意多边形 245"/>
              <p:cNvSpPr/>
              <p:nvPr/>
            </p:nvSpPr>
            <p:spPr>
              <a:xfrm>
                <a:off x="2830829" y="2681287"/>
                <a:ext cx="247650" cy="92392"/>
              </a:xfrm>
              <a:custGeom>
                <a:avLst/>
                <a:gdLst>
                  <a:gd name="connsiteX0" fmla="*/ 65723 w 247650"/>
                  <a:gd name="connsiteY0" fmla="*/ 26670 h 92392"/>
                  <a:gd name="connsiteX1" fmla="*/ 86677 w 247650"/>
                  <a:gd name="connsiteY1" fmla="*/ 30480 h 92392"/>
                  <a:gd name="connsiteX2" fmla="*/ 155258 w 247650"/>
                  <a:gd name="connsiteY2" fmla="*/ 0 h 92392"/>
                  <a:gd name="connsiteX3" fmla="*/ 247650 w 247650"/>
                  <a:gd name="connsiteY3" fmla="*/ 92393 h 92392"/>
                  <a:gd name="connsiteX4" fmla="*/ 130493 w 247650"/>
                  <a:gd name="connsiteY4" fmla="*/ 92393 h 92392"/>
                  <a:gd name="connsiteX5" fmla="*/ 61913 w 247650"/>
                  <a:gd name="connsiteY5" fmla="*/ 92393 h 92392"/>
                  <a:gd name="connsiteX6" fmla="*/ 0 w 247650"/>
                  <a:gd name="connsiteY6" fmla="*/ 92393 h 92392"/>
                  <a:gd name="connsiteX7" fmla="*/ 65723 w 247650"/>
                  <a:gd name="connsiteY7" fmla="*/ 26670 h 92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7650" h="92392">
                    <a:moveTo>
                      <a:pt x="65723" y="26670"/>
                    </a:moveTo>
                    <a:cubicBezTo>
                      <a:pt x="73343" y="26670"/>
                      <a:pt x="80010" y="27622"/>
                      <a:pt x="86677" y="30480"/>
                    </a:cubicBezTo>
                    <a:cubicBezTo>
                      <a:pt x="103823" y="11430"/>
                      <a:pt x="127635" y="0"/>
                      <a:pt x="155258" y="0"/>
                    </a:cubicBezTo>
                    <a:cubicBezTo>
                      <a:pt x="206693" y="0"/>
                      <a:pt x="247650" y="40957"/>
                      <a:pt x="247650" y="92393"/>
                    </a:cubicBezTo>
                    <a:lnTo>
                      <a:pt x="130493" y="92393"/>
                    </a:lnTo>
                    <a:lnTo>
                      <a:pt x="61913" y="92393"/>
                    </a:lnTo>
                    <a:lnTo>
                      <a:pt x="0" y="92393"/>
                    </a:lnTo>
                    <a:cubicBezTo>
                      <a:pt x="0" y="56197"/>
                      <a:pt x="29528" y="26670"/>
                      <a:pt x="65723" y="2667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pic>
        <p:nvPicPr>
          <p:cNvPr id="88" name="图片 87" descr="树林中的风景&#10;&#10;描述已自动生成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3463" y="970035"/>
            <a:ext cx="1858297" cy="1238864"/>
          </a:xfrm>
          <a:prstGeom prst="rect">
            <a:avLst/>
          </a:prstGeom>
        </p:spPr>
      </p:pic>
      <p:pic>
        <p:nvPicPr>
          <p:cNvPr id="89" name="图片 88" descr="人走在树林里&#10;&#10;描述已自动生成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9869" y="950371"/>
            <a:ext cx="1858297" cy="1238864"/>
          </a:xfrm>
          <a:prstGeom prst="rect">
            <a:avLst/>
          </a:prstGeom>
        </p:spPr>
      </p:pic>
      <p:pic>
        <p:nvPicPr>
          <p:cNvPr id="90" name="图片 89" descr="人站在树林里&#10;&#10;描述已自动生成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9868" y="2707887"/>
            <a:ext cx="1858297" cy="1238864"/>
          </a:xfrm>
          <a:prstGeom prst="rect">
            <a:avLst/>
          </a:prstGeom>
        </p:spPr>
      </p:pic>
      <p:pic>
        <p:nvPicPr>
          <p:cNvPr id="91" name="图片 90" descr="人走在树林里&#10;&#10;中度可信度描述已自动生成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3463" y="2707887"/>
            <a:ext cx="1858297" cy="1238864"/>
          </a:xfrm>
          <a:prstGeom prst="rect">
            <a:avLst/>
          </a:prstGeom>
        </p:spPr>
      </p:pic>
      <p:pic>
        <p:nvPicPr>
          <p:cNvPr id="92" name="图片 91" descr="人走在树林里&#10;&#10;描述已自动生成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369" y="2416336"/>
            <a:ext cx="3712370" cy="2474913"/>
          </a:xfrm>
          <a:prstGeom prst="rect">
            <a:avLst/>
          </a:prstGeom>
        </p:spPr>
      </p:pic>
      <p:pic>
        <p:nvPicPr>
          <p:cNvPr id="93" name="图片 92" descr="树林里&#10;&#10;描述已自动生成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9867" y="4975682"/>
            <a:ext cx="1858297" cy="1238864"/>
          </a:xfrm>
          <a:prstGeom prst="rect">
            <a:avLst/>
          </a:prstGeom>
        </p:spPr>
      </p:pic>
      <p:pic>
        <p:nvPicPr>
          <p:cNvPr id="94" name="图片 93" descr="人站在树林里&#10;&#10;描述已自动生成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3462" y="4975682"/>
            <a:ext cx="1858298" cy="1238865"/>
          </a:xfrm>
          <a:prstGeom prst="rect">
            <a:avLst/>
          </a:prstGeom>
        </p:spPr>
      </p:pic>
      <p:pic>
        <p:nvPicPr>
          <p:cNvPr id="95" name="图片 94" descr="人走在树林里&#10;&#10;描述已自动生成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9733" y="2405436"/>
            <a:ext cx="3669947" cy="2446631"/>
          </a:xfrm>
          <a:prstGeom prst="rect">
            <a:avLst/>
          </a:prstGeom>
        </p:spPr>
      </p:pic>
      <p:sp>
        <p:nvSpPr>
          <p:cNvPr id="96" name="文本框 95"/>
          <p:cNvSpPr txBox="1"/>
          <p:nvPr/>
        </p:nvSpPr>
        <p:spPr>
          <a:xfrm>
            <a:off x="888867" y="5100942"/>
            <a:ext cx="20939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Original Low</a:t>
            </a:r>
          </a:p>
          <a:p>
            <a:r>
              <a:rPr lang="en-US" altLang="zh-CN" dirty="0"/>
              <a:t>Resolution Image</a:t>
            </a:r>
          </a:p>
        </p:txBody>
      </p:sp>
      <p:sp>
        <p:nvSpPr>
          <p:cNvPr id="97" name="文本框 96"/>
          <p:cNvSpPr txBox="1"/>
          <p:nvPr/>
        </p:nvSpPr>
        <p:spPr>
          <a:xfrm>
            <a:off x="9255914" y="5045526"/>
            <a:ext cx="20939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After 150 epochs</a:t>
            </a:r>
          </a:p>
        </p:txBody>
      </p:sp>
      <p:sp>
        <p:nvSpPr>
          <p:cNvPr id="98" name="文本框 97"/>
          <p:cNvSpPr txBox="1"/>
          <p:nvPr/>
        </p:nvSpPr>
        <p:spPr>
          <a:xfrm>
            <a:off x="4642430" y="2273727"/>
            <a:ext cx="11273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Epoch 5</a:t>
            </a:r>
          </a:p>
        </p:txBody>
      </p:sp>
      <p:sp>
        <p:nvSpPr>
          <p:cNvPr id="99" name="文本框 98"/>
          <p:cNvSpPr txBox="1"/>
          <p:nvPr/>
        </p:nvSpPr>
        <p:spPr>
          <a:xfrm>
            <a:off x="6643097" y="2273727"/>
            <a:ext cx="12927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Epoch 15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4642430" y="3976034"/>
            <a:ext cx="14063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Epoch 25</a:t>
            </a:r>
          </a:p>
        </p:txBody>
      </p:sp>
      <p:sp>
        <p:nvSpPr>
          <p:cNvPr id="101" name="文本框 100"/>
          <p:cNvSpPr txBox="1"/>
          <p:nvPr/>
        </p:nvSpPr>
        <p:spPr>
          <a:xfrm>
            <a:off x="6643097" y="3946751"/>
            <a:ext cx="12927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Epoch 35</a:t>
            </a:r>
          </a:p>
        </p:txBody>
      </p:sp>
      <p:sp>
        <p:nvSpPr>
          <p:cNvPr id="102" name="文本框 101"/>
          <p:cNvSpPr txBox="1"/>
          <p:nvPr/>
        </p:nvSpPr>
        <p:spPr>
          <a:xfrm>
            <a:off x="4642429" y="6294111"/>
            <a:ext cx="13538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Epoch 90</a:t>
            </a:r>
          </a:p>
        </p:txBody>
      </p:sp>
      <p:sp>
        <p:nvSpPr>
          <p:cNvPr id="103" name="文本框 102"/>
          <p:cNvSpPr txBox="1"/>
          <p:nvPr/>
        </p:nvSpPr>
        <p:spPr>
          <a:xfrm>
            <a:off x="6597146" y="6286105"/>
            <a:ext cx="14005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Epoch 100</a:t>
            </a:r>
          </a:p>
        </p:txBody>
      </p:sp>
      <p:sp>
        <p:nvSpPr>
          <p:cNvPr id="104" name="箭头: 下 103"/>
          <p:cNvSpPr/>
          <p:nvPr/>
        </p:nvSpPr>
        <p:spPr>
          <a:xfrm>
            <a:off x="5901177" y="4205362"/>
            <a:ext cx="463533" cy="618999"/>
          </a:xfrm>
          <a:prstGeom prst="downArrow">
            <a:avLst/>
          </a:prstGeom>
          <a:solidFill>
            <a:srgbClr val="ED7D31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custDataLst>
      <p:tags r:id="rId1"/>
    </p:custData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444245" y="2687108"/>
            <a:ext cx="5419185" cy="895350"/>
          </a:xfrm>
        </p:spPr>
        <p:txBody>
          <a:bodyPr>
            <a:normAutofit/>
          </a:bodyPr>
          <a:lstStyle/>
          <a:p>
            <a:r>
              <a:rPr lang="en-US" altLang="zh-CN" sz="3600" dirty="0"/>
              <a:t>Summary</a:t>
            </a:r>
            <a:endParaRPr lang="zh-CN" altLang="en-US" sz="3600" dirty="0"/>
          </a:p>
        </p:txBody>
      </p:sp>
      <p:sp>
        <p:nvSpPr>
          <p:cNvPr id="9" name="文本框 8"/>
          <p:cNvSpPr txBox="1"/>
          <p:nvPr/>
        </p:nvSpPr>
        <p:spPr>
          <a:xfrm>
            <a:off x="4218890" y="2853416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6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757282" y="1700808"/>
            <a:ext cx="10763205" cy="2518005"/>
            <a:chOff x="1175743" y="1700808"/>
            <a:chExt cx="10344744" cy="4065136"/>
          </a:xfrm>
        </p:grpSpPr>
        <p:sp>
          <p:nvSpPr>
            <p:cNvPr id="7" name="iṡľïḑè"/>
            <p:cNvSpPr txBox="1"/>
            <p:nvPr/>
          </p:nvSpPr>
          <p:spPr bwMode="auto">
            <a:xfrm>
              <a:off x="3822192" y="1762328"/>
              <a:ext cx="7698295" cy="4003616"/>
            </a:xfrm>
            <a:prstGeom prst="rect">
              <a:avLst/>
            </a:prstGeom>
            <a:noFill/>
          </p:spPr>
          <p:txBody>
            <a:bodyPr wrap="square" tIns="0" anchor="t">
              <a:noAutofit/>
            </a:bodyPr>
            <a:lstStyle>
              <a:defPPr>
                <a:defRPr lang="zh-CN"/>
              </a:defPPr>
              <a:lvl1pPr>
                <a:defRPr sz="1600" b="1">
                  <a:latin typeface="Arial" panose="020B0604020202020204" pitchFamily="34" charset="0"/>
                  <a:ea typeface="微软雅黑" panose="020B0503020204020204" pitchFamily="34" charset="-122"/>
                  <a:cs typeface="+mn-ea"/>
                </a:defRPr>
              </a:lvl1pPr>
              <a:lvl2pPr marL="742950" indent="-28575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342900" indent="-342900">
                <a:lnSpc>
                  <a:spcPct val="150000"/>
                </a:lnSpc>
                <a:buFont typeface="+mj-lt"/>
                <a:buAutoNum type="arabicPeriod"/>
              </a:pPr>
              <a:r>
                <a:rPr lang="en-US" altLang="zh-CN" sz="2000" b="0" dirty="0">
                  <a:latin typeface="+mn-lt"/>
                  <a:ea typeface="+mn-ea"/>
                  <a:sym typeface="+mn-lt"/>
                </a:rPr>
                <a:t>Tradition methods in cv2 perform bad on vary low resolution image</a:t>
              </a:r>
            </a:p>
            <a:p>
              <a:pPr marL="342900" indent="-342900">
                <a:lnSpc>
                  <a:spcPct val="150000"/>
                </a:lnSpc>
                <a:buFont typeface="+mj-lt"/>
                <a:buAutoNum type="arabicPeriod"/>
              </a:pPr>
              <a:r>
                <a:rPr lang="en-US" altLang="zh-CN" sz="2000" b="0" dirty="0">
                  <a:latin typeface="+mn-lt"/>
                  <a:ea typeface="+mn-ea"/>
                  <a:sym typeface="+mn-lt"/>
                </a:rPr>
                <a:t>Neural Networks’ performances are great</a:t>
              </a:r>
            </a:p>
            <a:p>
              <a:pPr marL="342900" indent="-342900">
                <a:lnSpc>
                  <a:spcPct val="150000"/>
                </a:lnSpc>
                <a:buFont typeface="Wingdings" panose="05000000000000000000" pitchFamily="2" charset="2"/>
                <a:buChar char="l"/>
              </a:pPr>
              <a:r>
                <a:rPr lang="en-US" altLang="zh-CN" sz="2000" b="0" dirty="0">
                  <a:latin typeface="+mn-lt"/>
                  <a:ea typeface="+mn-ea"/>
                  <a:sym typeface="+mn-lt"/>
                </a:rPr>
                <a:t>SRCNN</a:t>
              </a:r>
            </a:p>
            <a:p>
              <a:pPr marL="342900" indent="-342900">
                <a:lnSpc>
                  <a:spcPct val="150000"/>
                </a:lnSpc>
                <a:buFont typeface="Wingdings" panose="05000000000000000000" pitchFamily="2" charset="2"/>
                <a:buChar char="l"/>
              </a:pPr>
              <a:r>
                <a:rPr lang="en-US" altLang="zh-CN" sz="2000" b="0" dirty="0">
                  <a:latin typeface="+mn-lt"/>
                  <a:ea typeface="+mn-ea"/>
                  <a:sym typeface="+mn-lt"/>
                </a:rPr>
                <a:t>Autoencoder</a:t>
              </a:r>
            </a:p>
            <a:p>
              <a:pPr marL="342900" indent="-342900">
                <a:lnSpc>
                  <a:spcPct val="150000"/>
                </a:lnSpc>
                <a:buFont typeface="Wingdings" panose="05000000000000000000" pitchFamily="2" charset="2"/>
                <a:buChar char="l"/>
              </a:pPr>
              <a:r>
                <a:rPr lang="en-US" altLang="zh-CN" sz="2000" b="0" dirty="0">
                  <a:latin typeface="+mn-lt"/>
                  <a:ea typeface="+mn-ea"/>
                  <a:sym typeface="+mn-lt"/>
                </a:rPr>
                <a:t>SRGAN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2000" b="0" dirty="0">
                  <a:latin typeface="+mn-lt"/>
                  <a:ea typeface="+mn-ea"/>
                  <a:sym typeface="+mn-lt"/>
                </a:rPr>
                <a:t> </a:t>
              </a:r>
            </a:p>
            <a:p>
              <a:pPr>
                <a:lnSpc>
                  <a:spcPct val="150000"/>
                </a:lnSpc>
              </a:pPr>
              <a:endParaRPr lang="en-US" altLang="zh-CN" sz="2000" b="0" dirty="0">
                <a:latin typeface="+mn-lt"/>
                <a:ea typeface="+mn-ea"/>
                <a:sym typeface="+mn-lt"/>
              </a:endParaRPr>
            </a:p>
          </p:txBody>
        </p:sp>
        <p:cxnSp>
          <p:nvCxnSpPr>
            <p:cNvPr id="8" name="直接连接符 7"/>
            <p:cNvCxnSpPr/>
            <p:nvPr/>
          </p:nvCxnSpPr>
          <p:spPr>
            <a:xfrm flipH="1">
              <a:off x="3696851" y="1780800"/>
              <a:ext cx="37" cy="3451892"/>
            </a:xfrm>
            <a:prstGeom prst="line">
              <a:avLst/>
            </a:prstGeom>
            <a:solidFill>
              <a:srgbClr val="FFCC00"/>
            </a:solidFill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9" name="išľïḋé"/>
            <p:cNvSpPr txBox="1"/>
            <p:nvPr/>
          </p:nvSpPr>
          <p:spPr>
            <a:xfrm>
              <a:off x="1175743" y="1700808"/>
              <a:ext cx="2521108" cy="52322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800" b="1" dirty="0">
                  <a:solidFill>
                    <a:schemeClr val="accent1"/>
                  </a:solidFill>
                  <a:cs typeface="+mn-ea"/>
                  <a:sym typeface="+mn-lt"/>
                </a:rPr>
                <a:t>Summary</a:t>
              </a:r>
              <a:endParaRPr lang="tr-TR" sz="2800" b="1" dirty="0">
                <a:solidFill>
                  <a:schemeClr val="accent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757283" y="4218813"/>
            <a:ext cx="10763205" cy="2021650"/>
            <a:chOff x="757282" y="1700808"/>
            <a:chExt cx="10763205" cy="3263807"/>
          </a:xfrm>
        </p:grpSpPr>
        <p:grpSp>
          <p:nvGrpSpPr>
            <p:cNvPr id="4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3097219"/>
              <a:chOff x="1175743" y="1700808"/>
              <a:chExt cx="10344744" cy="3097219"/>
            </a:xfrm>
          </p:grpSpPr>
          <p:sp>
            <p:nvSpPr>
              <p:cNvPr id="11" name="iṡľïḑè"/>
              <p:cNvSpPr txBox="1"/>
              <p:nvPr/>
            </p:nvSpPr>
            <p:spPr bwMode="auto">
              <a:xfrm>
                <a:off x="3822192" y="1762329"/>
                <a:ext cx="7698295" cy="3035698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000" b="0" dirty="0">
                    <a:latin typeface="+mn-lt"/>
                    <a:ea typeface="+mn-ea"/>
                    <a:sym typeface="+mn-lt"/>
                  </a:rPr>
                  <a:t>Use more efficient structure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000" b="0" dirty="0">
                    <a:latin typeface="+mn-lt"/>
                    <a:ea typeface="+mn-ea"/>
                    <a:sym typeface="+mn-lt"/>
                  </a:rPr>
                  <a:t>Use different types of image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000" b="0" dirty="0">
                    <a:latin typeface="+mn-lt"/>
                    <a:ea typeface="+mn-ea"/>
                    <a:sym typeface="+mn-lt"/>
                  </a:rPr>
                  <a:t>Image augmentation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sz="2000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zh-CN" sz="2000" b="0" dirty="0">
                    <a:latin typeface="+mn-lt"/>
                    <a:ea typeface="+mn-ea"/>
                    <a:sym typeface="+mn-lt"/>
                  </a:rPr>
                  <a:t> </a:t>
                </a:r>
              </a:p>
              <a:p>
                <a:pPr>
                  <a:lnSpc>
                    <a:spcPct val="150000"/>
                  </a:lnSpc>
                </a:pPr>
                <a:endParaRPr lang="en-US" altLang="zh-CN" sz="20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12" name="直接连接符 11"/>
              <p:cNvCxnSpPr/>
              <p:nvPr/>
            </p:nvCxnSpPr>
            <p:spPr>
              <a:xfrm>
                <a:off x="3696888" y="1700808"/>
                <a:ext cx="0" cy="2389390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3" name="išľïḋé"/>
              <p:cNvSpPr txBox="1"/>
              <p:nvPr/>
            </p:nvSpPr>
            <p:spPr>
              <a:xfrm>
                <a:off x="1175743" y="1700808"/>
                <a:ext cx="2521108" cy="154033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Future</a:t>
                </a:r>
              </a:p>
              <a:p>
                <a:pPr algn="r"/>
                <a:r>
                  <a:rPr 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Improvement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5" name="poetry_91022"/>
            <p:cNvSpPr>
              <a:spLocks noChangeAspect="1"/>
            </p:cNvSpPr>
            <p:nvPr/>
          </p:nvSpPr>
          <p:spPr bwMode="auto">
            <a:xfrm>
              <a:off x="2379533" y="3659494"/>
              <a:ext cx="870506" cy="1305121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1"/>
    </p:custData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444245" y="2687108"/>
            <a:ext cx="5419185" cy="895350"/>
          </a:xfrm>
        </p:spPr>
        <p:txBody>
          <a:bodyPr>
            <a:normAutofit/>
          </a:bodyPr>
          <a:lstStyle/>
          <a:p>
            <a:r>
              <a:rPr lang="en-US" altLang="zh-CN" sz="3600" dirty="0"/>
              <a:t>Introduction</a:t>
            </a:r>
            <a:endParaRPr lang="zh-CN" altLang="en-US" sz="3600" dirty="0"/>
          </a:p>
        </p:txBody>
      </p:sp>
      <p:sp>
        <p:nvSpPr>
          <p:cNvPr id="9" name="文本框 8"/>
          <p:cNvSpPr txBox="1"/>
          <p:nvPr/>
        </p:nvSpPr>
        <p:spPr>
          <a:xfrm>
            <a:off x="4218890" y="2853416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9525" imgH="9525" progId="TCLayout.ActiveDocument.1">
                  <p:embed/>
                </p:oleObj>
              </mc:Choice>
              <mc:Fallback>
                <p:oleObj name="think-cell Slide" r:id="rId4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3382962" y="2594893"/>
            <a:ext cx="5426076" cy="1621509"/>
          </a:xfrm>
        </p:spPr>
        <p:txBody>
          <a:bodyPr>
            <a:normAutofit/>
          </a:bodyPr>
          <a:lstStyle/>
          <a:p>
            <a:r>
              <a:rPr lang="en-US" altLang="zh-CN" sz="5400" dirty="0"/>
              <a:t>Thanks</a:t>
            </a:r>
            <a:br>
              <a:rPr lang="en-US" altLang="zh-CN" sz="5400" dirty="0"/>
            </a:br>
            <a:endParaRPr lang="zh-CN" altLang="en-US" sz="5400" dirty="0"/>
          </a:p>
        </p:txBody>
      </p:sp>
    </p:spTree>
    <p:custDataLst>
      <p:tags r:id="rId2"/>
    </p:custData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ntroductio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</a:t>
            </a:fld>
            <a:endParaRPr lang="zh-CN" altLang="en-US"/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DD569F1D-C1F4-E283-7118-E2330AFCD2F9}"/>
              </a:ext>
            </a:extLst>
          </p:cNvPr>
          <p:cNvSpPr txBox="1"/>
          <p:nvPr/>
        </p:nvSpPr>
        <p:spPr>
          <a:xfrm>
            <a:off x="669924" y="1280091"/>
            <a:ext cx="10593820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>
              <a:buFontTx/>
              <a:buChar char="-"/>
            </a:pP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Image super resolution: Low-resolution -&gt; High-resolution</a:t>
            </a:r>
          </a:p>
          <a:p>
            <a:pPr marL="285750" marR="0" lvl="0" indent="-285750">
              <a:buFontTx/>
              <a:buChar char="-"/>
            </a:pPr>
            <a:endParaRPr lang="en-US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marR="0" lvl="0" indent="-285750">
              <a:buFontTx/>
              <a:buChar char="-"/>
            </a:pP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Traditional Methods</a:t>
            </a:r>
          </a:p>
          <a:p>
            <a:pPr marR="0" lvl="0"/>
            <a:endParaRPr lang="en-US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marR="0" lvl="0" indent="-285750">
              <a:buFontTx/>
              <a:buChar char="-"/>
            </a:pP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Neural Networks:</a:t>
            </a:r>
          </a:p>
          <a:p>
            <a:pPr marL="285750" marR="0" lvl="0" indent="-285750">
              <a:buFontTx/>
              <a:buChar char="-"/>
            </a:pPr>
            <a:endParaRPr lang="en-US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R="0" lvl="0"/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     - CNN</a:t>
            </a:r>
          </a:p>
          <a:p>
            <a:pPr marR="0" lvl="0"/>
            <a:endParaRPr lang="en-US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R="0" lvl="0"/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     - Autoencoder</a:t>
            </a:r>
          </a:p>
          <a:p>
            <a:pPr marR="0" lvl="0"/>
            <a:endParaRPr lang="en-US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R="0" lvl="0"/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     - GAN</a:t>
            </a:r>
          </a:p>
          <a:p>
            <a:pPr marL="285750" marR="0" lvl="0" indent="-285750">
              <a:buFontTx/>
              <a:buChar char="-"/>
            </a:pPr>
            <a:endParaRPr lang="en-US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marR="0" lvl="0" indent="-285750">
              <a:buFontTx/>
              <a:buChar char="-"/>
            </a:pP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TensorFlow </a:t>
            </a:r>
            <a:r>
              <a:rPr lang="en-US" sz="2000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Keras</a:t>
            </a:r>
            <a:endParaRPr lang="en-US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R="0" lvl="0"/>
            <a:endParaRPr lang="en-US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marR="0" lvl="0" indent="-285750">
              <a:buFontTx/>
              <a:buChar char="-"/>
            </a:pP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Dataset: https://www.kaggle.com/datasets/quadeer15sh/image-super-resolution-from-unsplash</a:t>
            </a:r>
          </a:p>
        </p:txBody>
      </p:sp>
    </p:spTree>
    <p:custDataLst>
      <p:tags r:id="rId1"/>
    </p:custData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xample Image (Data)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5</a:t>
            </a:fld>
            <a:endParaRPr lang="zh-CN" altLang="en-US"/>
          </a:p>
        </p:txBody>
      </p:sp>
      <p:pic>
        <p:nvPicPr>
          <p:cNvPr id="88" name="Picture 87">
            <a:extLst>
              <a:ext uri="{FF2B5EF4-FFF2-40B4-BE49-F238E27FC236}">
                <a16:creationId xmlns:a16="http://schemas.microsoft.com/office/drawing/2014/main" id="{A0CEE1E0-9C06-6C66-03E4-85A866FD36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00976" y="1307843"/>
            <a:ext cx="6253317" cy="526787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405949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444245" y="2687108"/>
            <a:ext cx="5419185" cy="895350"/>
          </a:xfrm>
        </p:spPr>
        <p:txBody>
          <a:bodyPr>
            <a:normAutofit/>
          </a:bodyPr>
          <a:lstStyle/>
          <a:p>
            <a:r>
              <a:rPr lang="en-US" altLang="zh-CN" sz="3600" dirty="0"/>
              <a:t>Traditional Method</a:t>
            </a:r>
            <a:endParaRPr lang="zh-CN" altLang="en-US" sz="3600" dirty="0"/>
          </a:p>
        </p:txBody>
      </p:sp>
      <p:sp>
        <p:nvSpPr>
          <p:cNvPr id="9" name="文本框 8"/>
          <p:cNvSpPr txBox="1"/>
          <p:nvPr/>
        </p:nvSpPr>
        <p:spPr>
          <a:xfrm>
            <a:off x="4218890" y="2853416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raditional Method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7</a:t>
            </a:fld>
            <a:endParaRPr lang="zh-CN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9592EF0-3531-D66F-1FF1-0FDBB233C827}"/>
              </a:ext>
            </a:extLst>
          </p:cNvPr>
          <p:cNvSpPr txBox="1"/>
          <p:nvPr/>
        </p:nvSpPr>
        <p:spPr>
          <a:xfrm>
            <a:off x="2743271" y="1233179"/>
            <a:ext cx="659407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>
              <a:buFontTx/>
              <a:buChar char="-"/>
            </a:pP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Set rules to fill up missing values of pixels</a:t>
            </a:r>
          </a:p>
          <a:p>
            <a:pPr marL="285750" marR="0" lvl="0" indent="-285750">
              <a:buFontTx/>
              <a:buChar char="-"/>
            </a:pPr>
            <a:endParaRPr lang="en-US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marR="0" lvl="0" indent="-285750">
              <a:buFontTx/>
              <a:buChar char="-"/>
            </a:pP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From CV2 Package</a:t>
            </a:r>
          </a:p>
          <a:p>
            <a:pPr marL="285750" marR="0" lvl="0" indent="-285750">
              <a:buFontTx/>
              <a:buChar char="-"/>
            </a:pPr>
            <a:endParaRPr lang="en-US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marR="0" lvl="0" indent="-285750">
              <a:buFontTx/>
              <a:buChar char="-"/>
            </a:pP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Inter Nearest: Fill up missing value with same value of its nearest pixel</a:t>
            </a:r>
          </a:p>
          <a:p>
            <a:pPr marL="285750" marR="0" lvl="0" indent="-285750">
              <a:buFontTx/>
              <a:buChar char="-"/>
            </a:pPr>
            <a:endParaRPr lang="en-US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marR="0" lvl="0" indent="-285750">
              <a:buFontTx/>
              <a:buChar char="-"/>
            </a:pP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Inter Linear: Uses value of ~4 pixels to fill up the missing</a:t>
            </a:r>
          </a:p>
        </p:txBody>
      </p:sp>
      <p:pic>
        <p:nvPicPr>
          <p:cNvPr id="88" name="Picture 87">
            <a:extLst>
              <a:ext uri="{FF2B5EF4-FFF2-40B4-BE49-F238E27FC236}">
                <a16:creationId xmlns:a16="http://schemas.microsoft.com/office/drawing/2014/main" id="{19DB704A-30BA-C340-30D5-A03A1CA5B8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0381" y="3992203"/>
            <a:ext cx="9001071" cy="2246313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1BCE6FE2-C3A7-9E4C-CF04-1C61DC15F3D3}"/>
              </a:ext>
            </a:extLst>
          </p:cNvPr>
          <p:cNvSpPr txBox="1"/>
          <p:nvPr/>
        </p:nvSpPr>
        <p:spPr>
          <a:xfrm>
            <a:off x="2786526" y="5750798"/>
            <a:ext cx="76342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/>
            <a:endParaRPr lang="en-US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R="0" lvl="0"/>
            <a:r>
              <a:rPr lang="en-US" sz="2000" dirty="0"/>
              <a:t>original 			inter nearest 	   	   inter linear</a:t>
            </a:r>
            <a:endParaRPr lang="en-US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444245" y="2687108"/>
            <a:ext cx="5419185" cy="895350"/>
          </a:xfrm>
        </p:spPr>
        <p:txBody>
          <a:bodyPr>
            <a:normAutofit/>
          </a:bodyPr>
          <a:lstStyle/>
          <a:p>
            <a:r>
              <a:rPr lang="en-US" altLang="zh-CN" sz="3600" dirty="0"/>
              <a:t>CNN Model</a:t>
            </a:r>
            <a:endParaRPr lang="zh-CN" altLang="en-US" sz="3600" dirty="0"/>
          </a:p>
        </p:txBody>
      </p:sp>
      <p:sp>
        <p:nvSpPr>
          <p:cNvPr id="9" name="文本框 8"/>
          <p:cNvSpPr txBox="1"/>
          <p:nvPr/>
        </p:nvSpPr>
        <p:spPr>
          <a:xfrm>
            <a:off x="4218890" y="2853416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RCN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FE3897B8-EEF2-EF09-58E8-6380F6E3742D}"/>
              </a:ext>
            </a:extLst>
          </p:cNvPr>
          <p:cNvGrpSpPr/>
          <p:nvPr/>
        </p:nvGrpSpPr>
        <p:grpSpPr>
          <a:xfrm>
            <a:off x="8358909" y="5477164"/>
            <a:ext cx="3719729" cy="1298762"/>
            <a:chOff x="2772569" y="2151697"/>
            <a:chExt cx="6719888" cy="2554605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288EEB7A-6D63-F12F-3CCD-8F869232CFED}"/>
                </a:ext>
              </a:extLst>
            </p:cNvPr>
            <p:cNvGrpSpPr/>
            <p:nvPr/>
          </p:nvGrpSpPr>
          <p:grpSpPr>
            <a:xfrm>
              <a:off x="7873207" y="2151697"/>
              <a:ext cx="1093469" cy="2553652"/>
              <a:chOff x="7838122" y="219075"/>
              <a:chExt cx="1093469" cy="2553652"/>
            </a:xfrm>
          </p:grpSpPr>
          <p:sp>
            <p:nvSpPr>
              <p:cNvPr id="79" name="任意多边形 157">
                <a:extLst>
                  <a:ext uri="{FF2B5EF4-FFF2-40B4-BE49-F238E27FC236}">
                    <a16:creationId xmlns:a16="http://schemas.microsoft.com/office/drawing/2014/main" id="{2213DB1D-7987-2518-5F24-BC1269ED5332}"/>
                  </a:ext>
                </a:extLst>
              </p:cNvPr>
              <p:cNvSpPr/>
              <p:nvPr/>
            </p:nvSpPr>
            <p:spPr>
              <a:xfrm>
                <a:off x="8309609" y="280987"/>
                <a:ext cx="151447" cy="2491740"/>
              </a:xfrm>
              <a:custGeom>
                <a:avLst/>
                <a:gdLst>
                  <a:gd name="connsiteX0" fmla="*/ 151447 w 151447"/>
                  <a:gd name="connsiteY0" fmla="*/ 2491740 h 2491740"/>
                  <a:gd name="connsiteX1" fmla="*/ 0 w 151447"/>
                  <a:gd name="connsiteY1" fmla="*/ 2491740 h 2491740"/>
                  <a:gd name="connsiteX2" fmla="*/ 52388 w 151447"/>
                  <a:gd name="connsiteY2" fmla="*/ 0 h 2491740"/>
                  <a:gd name="connsiteX3" fmla="*/ 99060 w 151447"/>
                  <a:gd name="connsiteY3" fmla="*/ 0 h 249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1447" h="2491740">
                    <a:moveTo>
                      <a:pt x="151447" y="2491740"/>
                    </a:moveTo>
                    <a:lnTo>
                      <a:pt x="0" y="2491740"/>
                    </a:lnTo>
                    <a:lnTo>
                      <a:pt x="52388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80" name="组合 79">
                <a:extLst>
                  <a:ext uri="{FF2B5EF4-FFF2-40B4-BE49-F238E27FC236}">
                    <a16:creationId xmlns:a16="http://schemas.microsoft.com/office/drawing/2014/main" id="{CE8422B4-726A-DB9F-07F1-52E3B10F3199}"/>
                  </a:ext>
                </a:extLst>
              </p:cNvPr>
              <p:cNvGrpSpPr/>
              <p:nvPr/>
            </p:nvGrpSpPr>
            <p:grpSpPr>
              <a:xfrm>
                <a:off x="7838122" y="219075"/>
                <a:ext cx="1093469" cy="1788795"/>
                <a:chOff x="7838122" y="219075"/>
                <a:chExt cx="1093469" cy="1788795"/>
              </a:xfrm>
            </p:grpSpPr>
            <p:sp>
              <p:nvSpPr>
                <p:cNvPr id="81" name="任意多边形 159">
                  <a:extLst>
                    <a:ext uri="{FF2B5EF4-FFF2-40B4-BE49-F238E27FC236}">
                      <a16:creationId xmlns:a16="http://schemas.microsoft.com/office/drawing/2014/main" id="{0A2A7881-9992-9D31-1E8B-BB6DD3AAA61E}"/>
                    </a:ext>
                  </a:extLst>
                </p:cNvPr>
                <p:cNvSpPr/>
                <p:nvPr/>
              </p:nvSpPr>
              <p:spPr>
                <a:xfrm>
                  <a:off x="7838122" y="1418272"/>
                  <a:ext cx="1093469" cy="589597"/>
                </a:xfrm>
                <a:custGeom>
                  <a:avLst/>
                  <a:gdLst>
                    <a:gd name="connsiteX0" fmla="*/ 542925 w 1093469"/>
                    <a:gd name="connsiteY0" fmla="*/ 0 h 589597"/>
                    <a:gd name="connsiteX1" fmla="*/ 0 w 1093469"/>
                    <a:gd name="connsiteY1" fmla="*/ 589598 h 589597"/>
                    <a:gd name="connsiteX2" fmla="*/ 546735 w 1093469"/>
                    <a:gd name="connsiteY2" fmla="*/ 589598 h 589597"/>
                    <a:gd name="connsiteX3" fmla="*/ 1093470 w 1093469"/>
                    <a:gd name="connsiteY3" fmla="*/ 589598 h 589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93469" h="589597">
                      <a:moveTo>
                        <a:pt x="542925" y="0"/>
                      </a:moveTo>
                      <a:lnTo>
                        <a:pt x="0" y="589598"/>
                      </a:lnTo>
                      <a:lnTo>
                        <a:pt x="546735" y="589598"/>
                      </a:lnTo>
                      <a:lnTo>
                        <a:pt x="1093470" y="589598"/>
                      </a:ln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2" name="任意多边形 160">
                  <a:extLst>
                    <a:ext uri="{FF2B5EF4-FFF2-40B4-BE49-F238E27FC236}">
                      <a16:creationId xmlns:a16="http://schemas.microsoft.com/office/drawing/2014/main" id="{F8F9F474-39FD-549B-8463-BF4B90EECB34}"/>
                    </a:ext>
                  </a:extLst>
                </p:cNvPr>
                <p:cNvSpPr/>
                <p:nvPr/>
              </p:nvSpPr>
              <p:spPr>
                <a:xfrm>
                  <a:off x="7892414" y="1091564"/>
                  <a:ext cx="979170" cy="480060"/>
                </a:xfrm>
                <a:custGeom>
                  <a:avLst/>
                  <a:gdLst>
                    <a:gd name="connsiteX0" fmla="*/ 486728 w 979170"/>
                    <a:gd name="connsiteY0" fmla="*/ 0 h 480060"/>
                    <a:gd name="connsiteX1" fmla="*/ 0 w 979170"/>
                    <a:gd name="connsiteY1" fmla="*/ 480060 h 480060"/>
                    <a:gd name="connsiteX2" fmla="*/ 489585 w 979170"/>
                    <a:gd name="connsiteY2" fmla="*/ 480060 h 480060"/>
                    <a:gd name="connsiteX3" fmla="*/ 979170 w 979170"/>
                    <a:gd name="connsiteY3" fmla="*/ 480060 h 4800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9170" h="480060">
                      <a:moveTo>
                        <a:pt x="486728" y="0"/>
                      </a:moveTo>
                      <a:lnTo>
                        <a:pt x="0" y="480060"/>
                      </a:lnTo>
                      <a:lnTo>
                        <a:pt x="489585" y="480060"/>
                      </a:lnTo>
                      <a:lnTo>
                        <a:pt x="979170" y="480060"/>
                      </a:ln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3" name="任意多边形 161">
                  <a:extLst>
                    <a:ext uri="{FF2B5EF4-FFF2-40B4-BE49-F238E27FC236}">
                      <a16:creationId xmlns:a16="http://schemas.microsoft.com/office/drawing/2014/main" id="{B4C3880F-53E7-C432-510D-7B042445B7E9}"/>
                    </a:ext>
                  </a:extLst>
                </p:cNvPr>
                <p:cNvSpPr/>
                <p:nvPr/>
              </p:nvSpPr>
              <p:spPr>
                <a:xfrm>
                  <a:off x="7937181" y="819150"/>
                  <a:ext cx="886777" cy="398145"/>
                </a:xfrm>
                <a:custGeom>
                  <a:avLst/>
                  <a:gdLst>
                    <a:gd name="connsiteX0" fmla="*/ 441007 w 886777"/>
                    <a:gd name="connsiteY0" fmla="*/ 0 h 398145"/>
                    <a:gd name="connsiteX1" fmla="*/ 0 w 886777"/>
                    <a:gd name="connsiteY1" fmla="*/ 398145 h 398145"/>
                    <a:gd name="connsiteX2" fmla="*/ 442913 w 886777"/>
                    <a:gd name="connsiteY2" fmla="*/ 398145 h 398145"/>
                    <a:gd name="connsiteX3" fmla="*/ 886778 w 886777"/>
                    <a:gd name="connsiteY3" fmla="*/ 398145 h 3981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86777" h="398145">
                      <a:moveTo>
                        <a:pt x="441007" y="0"/>
                      </a:moveTo>
                      <a:lnTo>
                        <a:pt x="0" y="398145"/>
                      </a:lnTo>
                      <a:lnTo>
                        <a:pt x="442913" y="398145"/>
                      </a:lnTo>
                      <a:lnTo>
                        <a:pt x="886778" y="398145"/>
                      </a:ln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4" name="任意多边形 162">
                  <a:extLst>
                    <a:ext uri="{FF2B5EF4-FFF2-40B4-BE49-F238E27FC236}">
                      <a16:creationId xmlns:a16="http://schemas.microsoft.com/office/drawing/2014/main" id="{18997019-715B-82F9-E48A-9B698523B9F4}"/>
                    </a:ext>
                  </a:extLst>
                </p:cNvPr>
                <p:cNvSpPr/>
                <p:nvPr/>
              </p:nvSpPr>
              <p:spPr>
                <a:xfrm>
                  <a:off x="7973376" y="587692"/>
                  <a:ext cx="809625" cy="336232"/>
                </a:xfrm>
                <a:custGeom>
                  <a:avLst/>
                  <a:gdLst>
                    <a:gd name="connsiteX0" fmla="*/ 402908 w 809625"/>
                    <a:gd name="connsiteY0" fmla="*/ 0 h 336232"/>
                    <a:gd name="connsiteX1" fmla="*/ 0 w 809625"/>
                    <a:gd name="connsiteY1" fmla="*/ 336233 h 336232"/>
                    <a:gd name="connsiteX2" fmla="*/ 404813 w 809625"/>
                    <a:gd name="connsiteY2" fmla="*/ 336233 h 336232"/>
                    <a:gd name="connsiteX3" fmla="*/ 809625 w 809625"/>
                    <a:gd name="connsiteY3" fmla="*/ 336233 h 336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9625" h="336232">
                      <a:moveTo>
                        <a:pt x="402908" y="0"/>
                      </a:moveTo>
                      <a:lnTo>
                        <a:pt x="0" y="336233"/>
                      </a:lnTo>
                      <a:lnTo>
                        <a:pt x="404813" y="336233"/>
                      </a:lnTo>
                      <a:lnTo>
                        <a:pt x="809625" y="336233"/>
                      </a:lnTo>
                      <a:close/>
                    </a:path>
                  </a:pathLst>
                </a:custGeom>
                <a:solidFill>
                  <a:srgbClr val="45BC5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5" name="任意多边形 163">
                  <a:extLst>
                    <a:ext uri="{FF2B5EF4-FFF2-40B4-BE49-F238E27FC236}">
                      <a16:creationId xmlns:a16="http://schemas.microsoft.com/office/drawing/2014/main" id="{217A25B9-5B7F-7AFC-8782-B70DFEE4F8E1}"/>
                    </a:ext>
                  </a:extLst>
                </p:cNvPr>
                <p:cNvSpPr/>
                <p:nvPr/>
              </p:nvSpPr>
              <p:spPr>
                <a:xfrm>
                  <a:off x="8003856" y="390525"/>
                  <a:ext cx="745807" cy="286702"/>
                </a:xfrm>
                <a:custGeom>
                  <a:avLst/>
                  <a:gdLst>
                    <a:gd name="connsiteX0" fmla="*/ 371475 w 745807"/>
                    <a:gd name="connsiteY0" fmla="*/ 0 h 286702"/>
                    <a:gd name="connsiteX1" fmla="*/ 0 w 745807"/>
                    <a:gd name="connsiteY1" fmla="*/ 286703 h 286702"/>
                    <a:gd name="connsiteX2" fmla="*/ 373380 w 745807"/>
                    <a:gd name="connsiteY2" fmla="*/ 286703 h 286702"/>
                    <a:gd name="connsiteX3" fmla="*/ 745807 w 745807"/>
                    <a:gd name="connsiteY3" fmla="*/ 286703 h 286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5807" h="286702">
                      <a:moveTo>
                        <a:pt x="371475" y="0"/>
                      </a:moveTo>
                      <a:lnTo>
                        <a:pt x="0" y="286703"/>
                      </a:lnTo>
                      <a:lnTo>
                        <a:pt x="373380" y="286703"/>
                      </a:lnTo>
                      <a:lnTo>
                        <a:pt x="745807" y="286703"/>
                      </a:ln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6" name="任意多边形 164">
                  <a:extLst>
                    <a:ext uri="{FF2B5EF4-FFF2-40B4-BE49-F238E27FC236}">
                      <a16:creationId xmlns:a16="http://schemas.microsoft.com/office/drawing/2014/main" id="{239CADBE-6253-A96B-B807-8A77D736DC3B}"/>
                    </a:ext>
                  </a:extLst>
                </p:cNvPr>
                <p:cNvSpPr/>
                <p:nvPr/>
              </p:nvSpPr>
              <p:spPr>
                <a:xfrm>
                  <a:off x="8030526" y="219075"/>
                  <a:ext cx="690562" cy="248602"/>
                </a:xfrm>
                <a:custGeom>
                  <a:avLst/>
                  <a:gdLst>
                    <a:gd name="connsiteX0" fmla="*/ 343853 w 690562"/>
                    <a:gd name="connsiteY0" fmla="*/ 0 h 248602"/>
                    <a:gd name="connsiteX1" fmla="*/ 0 w 690562"/>
                    <a:gd name="connsiteY1" fmla="*/ 248603 h 248602"/>
                    <a:gd name="connsiteX2" fmla="*/ 344805 w 690562"/>
                    <a:gd name="connsiteY2" fmla="*/ 248603 h 248602"/>
                    <a:gd name="connsiteX3" fmla="*/ 690563 w 690562"/>
                    <a:gd name="connsiteY3" fmla="*/ 248603 h 2486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0562" h="248602">
                      <a:moveTo>
                        <a:pt x="343853" y="0"/>
                      </a:moveTo>
                      <a:lnTo>
                        <a:pt x="0" y="248603"/>
                      </a:lnTo>
                      <a:lnTo>
                        <a:pt x="344805" y="248603"/>
                      </a:lnTo>
                      <a:lnTo>
                        <a:pt x="690563" y="248603"/>
                      </a:ln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0EE8A529-A0C2-7EAA-9B89-4429797D4163}"/>
                </a:ext>
              </a:extLst>
            </p:cNvPr>
            <p:cNvGrpSpPr/>
            <p:nvPr/>
          </p:nvGrpSpPr>
          <p:grpSpPr>
            <a:xfrm>
              <a:off x="5240497" y="2258376"/>
              <a:ext cx="1892617" cy="2446972"/>
              <a:chOff x="5205412" y="325754"/>
              <a:chExt cx="1892617" cy="2446972"/>
            </a:xfrm>
          </p:grpSpPr>
          <p:sp>
            <p:nvSpPr>
              <p:cNvPr id="67" name="任意多边形 168">
                <a:extLst>
                  <a:ext uri="{FF2B5EF4-FFF2-40B4-BE49-F238E27FC236}">
                    <a16:creationId xmlns:a16="http://schemas.microsoft.com/office/drawing/2014/main" id="{2D4433C8-29BD-5179-5F6B-C6147B2C3C5E}"/>
                  </a:ext>
                </a:extLst>
              </p:cNvPr>
              <p:cNvSpPr/>
              <p:nvPr/>
            </p:nvSpPr>
            <p:spPr>
              <a:xfrm>
                <a:off x="6055042" y="425767"/>
                <a:ext cx="194309" cy="2346960"/>
              </a:xfrm>
              <a:custGeom>
                <a:avLst/>
                <a:gdLst>
                  <a:gd name="connsiteX0" fmla="*/ 194310 w 194309"/>
                  <a:gd name="connsiteY0" fmla="*/ 2346960 h 2346960"/>
                  <a:gd name="connsiteX1" fmla="*/ 0 w 194309"/>
                  <a:gd name="connsiteY1" fmla="*/ 2346960 h 2346960"/>
                  <a:gd name="connsiteX2" fmla="*/ 66675 w 194309"/>
                  <a:gd name="connsiteY2" fmla="*/ 0 h 2346960"/>
                  <a:gd name="connsiteX3" fmla="*/ 127635 w 194309"/>
                  <a:gd name="connsiteY3" fmla="*/ 0 h 2346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4309" h="2346960">
                    <a:moveTo>
                      <a:pt x="194310" y="2346960"/>
                    </a:moveTo>
                    <a:lnTo>
                      <a:pt x="0" y="2346960"/>
                    </a:lnTo>
                    <a:lnTo>
                      <a:pt x="66675" y="0"/>
                    </a:lnTo>
                    <a:lnTo>
                      <a:pt x="127635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8" name="组合 67">
                <a:extLst>
                  <a:ext uri="{FF2B5EF4-FFF2-40B4-BE49-F238E27FC236}">
                    <a16:creationId xmlns:a16="http://schemas.microsoft.com/office/drawing/2014/main" id="{0E828CA0-2B27-4FF0-3F8F-362952D1CC0B}"/>
                  </a:ext>
                </a:extLst>
              </p:cNvPr>
              <p:cNvGrpSpPr/>
              <p:nvPr/>
            </p:nvGrpSpPr>
            <p:grpSpPr>
              <a:xfrm>
                <a:off x="5205412" y="325754"/>
                <a:ext cx="1892617" cy="1728787"/>
                <a:chOff x="5205412" y="325754"/>
                <a:chExt cx="1892617" cy="1728787"/>
              </a:xfrm>
            </p:grpSpPr>
            <p:sp>
              <p:nvSpPr>
                <p:cNvPr id="69" name="任意多边形 170">
                  <a:extLst>
                    <a:ext uri="{FF2B5EF4-FFF2-40B4-BE49-F238E27FC236}">
                      <a16:creationId xmlns:a16="http://schemas.microsoft.com/office/drawing/2014/main" id="{89036D5B-F315-A58D-CCF7-A3350BDF4A45}"/>
                    </a:ext>
                  </a:extLst>
                </p:cNvPr>
                <p:cNvSpPr/>
                <p:nvPr/>
              </p:nvSpPr>
              <p:spPr>
                <a:xfrm>
                  <a:off x="5354954" y="596264"/>
                  <a:ext cx="741044" cy="741045"/>
                </a:xfrm>
                <a:custGeom>
                  <a:avLst/>
                  <a:gdLst>
                    <a:gd name="connsiteX0" fmla="*/ 741045 w 741044"/>
                    <a:gd name="connsiteY0" fmla="*/ 370523 h 741045"/>
                    <a:gd name="connsiteX1" fmla="*/ 370522 w 741044"/>
                    <a:gd name="connsiteY1" fmla="*/ 741045 h 741045"/>
                    <a:gd name="connsiteX2" fmla="*/ 0 w 741044"/>
                    <a:gd name="connsiteY2" fmla="*/ 370523 h 741045"/>
                    <a:gd name="connsiteX3" fmla="*/ 370522 w 741044"/>
                    <a:gd name="connsiteY3" fmla="*/ 0 h 741045"/>
                    <a:gd name="connsiteX4" fmla="*/ 741045 w 741044"/>
                    <a:gd name="connsiteY4" fmla="*/ 370523 h 741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1044" h="741045">
                      <a:moveTo>
                        <a:pt x="741045" y="370523"/>
                      </a:moveTo>
                      <a:cubicBezTo>
                        <a:pt x="741045" y="575310"/>
                        <a:pt x="575310" y="741045"/>
                        <a:pt x="370522" y="741045"/>
                      </a:cubicBezTo>
                      <a:cubicBezTo>
                        <a:pt x="165735" y="741045"/>
                        <a:pt x="0" y="575310"/>
                        <a:pt x="0" y="370523"/>
                      </a:cubicBezTo>
                      <a:cubicBezTo>
                        <a:pt x="0" y="165735"/>
                        <a:pt x="165735" y="0"/>
                        <a:pt x="370522" y="0"/>
                      </a:cubicBezTo>
                      <a:cubicBezTo>
                        <a:pt x="574357" y="0"/>
                        <a:pt x="741045" y="165735"/>
                        <a:pt x="741045" y="370523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0" name="任意多边形 171">
                  <a:extLst>
                    <a:ext uri="{FF2B5EF4-FFF2-40B4-BE49-F238E27FC236}">
                      <a16:creationId xmlns:a16="http://schemas.microsoft.com/office/drawing/2014/main" id="{C780C4B8-6F91-E2B7-1DF4-1331E326ACE1}"/>
                    </a:ext>
                  </a:extLst>
                </p:cNvPr>
                <p:cNvSpPr/>
                <p:nvPr/>
              </p:nvSpPr>
              <p:spPr>
                <a:xfrm>
                  <a:off x="6587489" y="866769"/>
                  <a:ext cx="510540" cy="510545"/>
                </a:xfrm>
                <a:custGeom>
                  <a:avLst/>
                  <a:gdLst>
                    <a:gd name="connsiteX0" fmla="*/ 510540 w 510540"/>
                    <a:gd name="connsiteY0" fmla="*/ 255276 h 510545"/>
                    <a:gd name="connsiteX1" fmla="*/ 255270 w 510540"/>
                    <a:gd name="connsiteY1" fmla="*/ 510546 h 510545"/>
                    <a:gd name="connsiteX2" fmla="*/ 0 w 510540"/>
                    <a:gd name="connsiteY2" fmla="*/ 255276 h 510545"/>
                    <a:gd name="connsiteX3" fmla="*/ 255270 w 510540"/>
                    <a:gd name="connsiteY3" fmla="*/ 6 h 510545"/>
                    <a:gd name="connsiteX4" fmla="*/ 510540 w 510540"/>
                    <a:gd name="connsiteY4" fmla="*/ 255276 h 5105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0540" h="510545">
                      <a:moveTo>
                        <a:pt x="510540" y="255276"/>
                      </a:moveTo>
                      <a:cubicBezTo>
                        <a:pt x="510540" y="396246"/>
                        <a:pt x="396240" y="510546"/>
                        <a:pt x="255270" y="510546"/>
                      </a:cubicBezTo>
                      <a:cubicBezTo>
                        <a:pt x="114300" y="510546"/>
                        <a:pt x="0" y="396246"/>
                        <a:pt x="0" y="255276"/>
                      </a:cubicBezTo>
                      <a:cubicBezTo>
                        <a:pt x="0" y="114306"/>
                        <a:pt x="114300" y="6"/>
                        <a:pt x="255270" y="6"/>
                      </a:cubicBezTo>
                      <a:cubicBezTo>
                        <a:pt x="396240" y="-947"/>
                        <a:pt x="510540" y="114306"/>
                        <a:pt x="510540" y="255276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1" name="任意多边形 172">
                  <a:extLst>
                    <a:ext uri="{FF2B5EF4-FFF2-40B4-BE49-F238E27FC236}">
                      <a16:creationId xmlns:a16="http://schemas.microsoft.com/office/drawing/2014/main" id="{45852896-3580-FC80-BB74-E128DBCB25C1}"/>
                    </a:ext>
                  </a:extLst>
                </p:cNvPr>
                <p:cNvSpPr/>
                <p:nvPr/>
              </p:nvSpPr>
              <p:spPr>
                <a:xfrm>
                  <a:off x="5427344" y="545782"/>
                  <a:ext cx="1508760" cy="1508759"/>
                </a:xfrm>
                <a:custGeom>
                  <a:avLst/>
                  <a:gdLst>
                    <a:gd name="connsiteX0" fmla="*/ 1508760 w 1508760"/>
                    <a:gd name="connsiteY0" fmla="*/ 754380 h 1508759"/>
                    <a:gd name="connsiteX1" fmla="*/ 754380 w 1508760"/>
                    <a:gd name="connsiteY1" fmla="*/ 1508760 h 1508759"/>
                    <a:gd name="connsiteX2" fmla="*/ 0 w 1508760"/>
                    <a:gd name="connsiteY2" fmla="*/ 754380 h 1508759"/>
                    <a:gd name="connsiteX3" fmla="*/ 754380 w 1508760"/>
                    <a:gd name="connsiteY3" fmla="*/ 0 h 1508759"/>
                    <a:gd name="connsiteX4" fmla="*/ 1508760 w 1508760"/>
                    <a:gd name="connsiteY4" fmla="*/ 754380 h 1508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760" h="1508759">
                      <a:moveTo>
                        <a:pt x="1508760" y="754380"/>
                      </a:moveTo>
                      <a:cubicBezTo>
                        <a:pt x="1508760" y="1170623"/>
                        <a:pt x="1171575" y="1508760"/>
                        <a:pt x="754380" y="1508760"/>
                      </a:cubicBezTo>
                      <a:cubicBezTo>
                        <a:pt x="338138" y="1508760"/>
                        <a:pt x="0" y="1171575"/>
                        <a:pt x="0" y="754380"/>
                      </a:cubicBezTo>
                      <a:cubicBezTo>
                        <a:pt x="0" y="338138"/>
                        <a:pt x="337185" y="0"/>
                        <a:pt x="754380" y="0"/>
                      </a:cubicBezTo>
                      <a:cubicBezTo>
                        <a:pt x="1171575" y="953"/>
                        <a:pt x="1508760" y="338138"/>
                        <a:pt x="1508760" y="754380"/>
                      </a:cubicBezTo>
                      <a:close/>
                    </a:path>
                  </a:pathLst>
                </a:custGeom>
                <a:solidFill>
                  <a:srgbClr val="0293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2" name="任意多边形 173">
                  <a:extLst>
                    <a:ext uri="{FF2B5EF4-FFF2-40B4-BE49-F238E27FC236}">
                      <a16:creationId xmlns:a16="http://schemas.microsoft.com/office/drawing/2014/main" id="{87ED978A-82A5-87A8-042C-E55759CA1A98}"/>
                    </a:ext>
                  </a:extLst>
                </p:cNvPr>
                <p:cNvSpPr/>
                <p:nvPr/>
              </p:nvSpPr>
              <p:spPr>
                <a:xfrm>
                  <a:off x="5205412" y="1026795"/>
                  <a:ext cx="798194" cy="798195"/>
                </a:xfrm>
                <a:custGeom>
                  <a:avLst/>
                  <a:gdLst>
                    <a:gd name="connsiteX0" fmla="*/ 798195 w 798194"/>
                    <a:gd name="connsiteY0" fmla="*/ 399097 h 798195"/>
                    <a:gd name="connsiteX1" fmla="*/ 399097 w 798194"/>
                    <a:gd name="connsiteY1" fmla="*/ 798195 h 798195"/>
                    <a:gd name="connsiteX2" fmla="*/ 0 w 798194"/>
                    <a:gd name="connsiteY2" fmla="*/ 399097 h 798195"/>
                    <a:gd name="connsiteX3" fmla="*/ 399097 w 798194"/>
                    <a:gd name="connsiteY3" fmla="*/ 0 h 798195"/>
                    <a:gd name="connsiteX4" fmla="*/ 798195 w 798194"/>
                    <a:gd name="connsiteY4" fmla="*/ 399097 h 798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98194" h="798195">
                      <a:moveTo>
                        <a:pt x="798195" y="399097"/>
                      </a:moveTo>
                      <a:cubicBezTo>
                        <a:pt x="798195" y="619125"/>
                        <a:pt x="619125" y="798195"/>
                        <a:pt x="399097" y="798195"/>
                      </a:cubicBezTo>
                      <a:cubicBezTo>
                        <a:pt x="179070" y="798195"/>
                        <a:pt x="0" y="619125"/>
                        <a:pt x="0" y="399097"/>
                      </a:cubicBezTo>
                      <a:cubicBezTo>
                        <a:pt x="0" y="179070"/>
                        <a:pt x="179070" y="0"/>
                        <a:pt x="399097" y="0"/>
                      </a:cubicBezTo>
                      <a:cubicBezTo>
                        <a:pt x="619125" y="0"/>
                        <a:pt x="798195" y="179070"/>
                        <a:pt x="798195" y="399097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3" name="任意多边形 174">
                  <a:extLst>
                    <a:ext uri="{FF2B5EF4-FFF2-40B4-BE49-F238E27FC236}">
                      <a16:creationId xmlns:a16="http://schemas.microsoft.com/office/drawing/2014/main" id="{83A364DA-108D-EFFF-827F-7748356E0A7F}"/>
                    </a:ext>
                  </a:extLst>
                </p:cNvPr>
                <p:cNvSpPr/>
                <p:nvPr/>
              </p:nvSpPr>
              <p:spPr>
                <a:xfrm>
                  <a:off x="6276021" y="1425892"/>
                  <a:ext cx="609600" cy="609600"/>
                </a:xfrm>
                <a:custGeom>
                  <a:avLst/>
                  <a:gdLst>
                    <a:gd name="connsiteX0" fmla="*/ 609600 w 609600"/>
                    <a:gd name="connsiteY0" fmla="*/ 304800 h 609600"/>
                    <a:gd name="connsiteX1" fmla="*/ 304800 w 609600"/>
                    <a:gd name="connsiteY1" fmla="*/ 609600 h 609600"/>
                    <a:gd name="connsiteX2" fmla="*/ 0 w 609600"/>
                    <a:gd name="connsiteY2" fmla="*/ 304800 h 609600"/>
                    <a:gd name="connsiteX3" fmla="*/ 304800 w 609600"/>
                    <a:gd name="connsiteY3" fmla="*/ 0 h 609600"/>
                    <a:gd name="connsiteX4" fmla="*/ 609600 w 609600"/>
                    <a:gd name="connsiteY4" fmla="*/ 304800 h 609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9600" h="609600">
                      <a:moveTo>
                        <a:pt x="609600" y="304800"/>
                      </a:moveTo>
                      <a:cubicBezTo>
                        <a:pt x="609600" y="473392"/>
                        <a:pt x="473393" y="609600"/>
                        <a:pt x="304800" y="609600"/>
                      </a:cubicBezTo>
                      <a:cubicBezTo>
                        <a:pt x="136208" y="609600"/>
                        <a:pt x="0" y="473392"/>
                        <a:pt x="0" y="304800"/>
                      </a:cubicBezTo>
                      <a:cubicBezTo>
                        <a:pt x="0" y="136208"/>
                        <a:pt x="136208" y="0"/>
                        <a:pt x="304800" y="0"/>
                      </a:cubicBezTo>
                      <a:cubicBezTo>
                        <a:pt x="473393" y="0"/>
                        <a:pt x="609600" y="136208"/>
                        <a:pt x="609600" y="30480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4" name="任意多边形 175">
                  <a:extLst>
                    <a:ext uri="{FF2B5EF4-FFF2-40B4-BE49-F238E27FC236}">
                      <a16:creationId xmlns:a16="http://schemas.microsoft.com/office/drawing/2014/main" id="{297248F1-49D8-9218-369A-9711FCB5E1D8}"/>
                    </a:ext>
                  </a:extLst>
                </p:cNvPr>
                <p:cNvSpPr/>
                <p:nvPr/>
              </p:nvSpPr>
              <p:spPr>
                <a:xfrm>
                  <a:off x="5838824" y="325754"/>
                  <a:ext cx="1003934" cy="1003934"/>
                </a:xfrm>
                <a:custGeom>
                  <a:avLst/>
                  <a:gdLst>
                    <a:gd name="connsiteX0" fmla="*/ 1003935 w 1003934"/>
                    <a:gd name="connsiteY0" fmla="*/ 501968 h 1003934"/>
                    <a:gd name="connsiteX1" fmla="*/ 501968 w 1003934"/>
                    <a:gd name="connsiteY1" fmla="*/ 1003935 h 1003934"/>
                    <a:gd name="connsiteX2" fmla="*/ 0 w 1003934"/>
                    <a:gd name="connsiteY2" fmla="*/ 501968 h 1003934"/>
                    <a:gd name="connsiteX3" fmla="*/ 501968 w 1003934"/>
                    <a:gd name="connsiteY3" fmla="*/ 0 h 1003934"/>
                    <a:gd name="connsiteX4" fmla="*/ 1003935 w 1003934"/>
                    <a:gd name="connsiteY4" fmla="*/ 501968 h 1003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3934" h="1003934">
                      <a:moveTo>
                        <a:pt x="1003935" y="501968"/>
                      </a:moveTo>
                      <a:cubicBezTo>
                        <a:pt x="1003935" y="779145"/>
                        <a:pt x="779145" y="1003935"/>
                        <a:pt x="501968" y="1003935"/>
                      </a:cubicBezTo>
                      <a:cubicBezTo>
                        <a:pt x="224790" y="1003935"/>
                        <a:pt x="0" y="779145"/>
                        <a:pt x="0" y="501968"/>
                      </a:cubicBezTo>
                      <a:cubicBezTo>
                        <a:pt x="0" y="224790"/>
                        <a:pt x="224790" y="0"/>
                        <a:pt x="501968" y="0"/>
                      </a:cubicBezTo>
                      <a:cubicBezTo>
                        <a:pt x="779145" y="0"/>
                        <a:pt x="1003935" y="224790"/>
                        <a:pt x="1003935" y="501968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5" name="任意多边形 176">
                  <a:extLst>
                    <a:ext uri="{FF2B5EF4-FFF2-40B4-BE49-F238E27FC236}">
                      <a16:creationId xmlns:a16="http://schemas.microsoft.com/office/drawing/2014/main" id="{F6192EB6-B73E-7024-6684-4B7E668E7FF6}"/>
                    </a:ext>
                  </a:extLst>
                </p:cNvPr>
                <p:cNvSpPr/>
                <p:nvPr/>
              </p:nvSpPr>
              <p:spPr>
                <a:xfrm>
                  <a:off x="6095046" y="1067752"/>
                  <a:ext cx="716280" cy="716280"/>
                </a:xfrm>
                <a:custGeom>
                  <a:avLst/>
                  <a:gdLst>
                    <a:gd name="connsiteX0" fmla="*/ 716280 w 716280"/>
                    <a:gd name="connsiteY0" fmla="*/ 358140 h 716280"/>
                    <a:gd name="connsiteX1" fmla="*/ 358140 w 716280"/>
                    <a:gd name="connsiteY1" fmla="*/ 716280 h 716280"/>
                    <a:gd name="connsiteX2" fmla="*/ 0 w 716280"/>
                    <a:gd name="connsiteY2" fmla="*/ 358140 h 716280"/>
                    <a:gd name="connsiteX3" fmla="*/ 358140 w 716280"/>
                    <a:gd name="connsiteY3" fmla="*/ 0 h 716280"/>
                    <a:gd name="connsiteX4" fmla="*/ 716280 w 716280"/>
                    <a:gd name="connsiteY4" fmla="*/ 358140 h 716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6280" h="716280">
                      <a:moveTo>
                        <a:pt x="716280" y="358140"/>
                      </a:moveTo>
                      <a:cubicBezTo>
                        <a:pt x="716280" y="556260"/>
                        <a:pt x="556260" y="716280"/>
                        <a:pt x="358140" y="716280"/>
                      </a:cubicBezTo>
                      <a:cubicBezTo>
                        <a:pt x="160020" y="716280"/>
                        <a:pt x="0" y="556260"/>
                        <a:pt x="0" y="358140"/>
                      </a:cubicBezTo>
                      <a:cubicBezTo>
                        <a:pt x="0" y="160020"/>
                        <a:pt x="160020" y="0"/>
                        <a:pt x="358140" y="0"/>
                      </a:cubicBezTo>
                      <a:cubicBezTo>
                        <a:pt x="556260" y="0"/>
                        <a:pt x="716280" y="160020"/>
                        <a:pt x="716280" y="35814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" name="任意多边形 177">
                  <a:extLst>
                    <a:ext uri="{FF2B5EF4-FFF2-40B4-BE49-F238E27FC236}">
                      <a16:creationId xmlns:a16="http://schemas.microsoft.com/office/drawing/2014/main" id="{6622D1DE-115D-1D7A-508A-90656F1A0010}"/>
                    </a:ext>
                  </a:extLst>
                </p:cNvPr>
                <p:cNvSpPr/>
                <p:nvPr/>
              </p:nvSpPr>
              <p:spPr>
                <a:xfrm>
                  <a:off x="5825489" y="1122045"/>
                  <a:ext cx="356234" cy="356234"/>
                </a:xfrm>
                <a:custGeom>
                  <a:avLst/>
                  <a:gdLst>
                    <a:gd name="connsiteX0" fmla="*/ 356235 w 356234"/>
                    <a:gd name="connsiteY0" fmla="*/ 178117 h 356234"/>
                    <a:gd name="connsiteX1" fmla="*/ 178117 w 356234"/>
                    <a:gd name="connsiteY1" fmla="*/ 356235 h 356234"/>
                    <a:gd name="connsiteX2" fmla="*/ 0 w 356234"/>
                    <a:gd name="connsiteY2" fmla="*/ 178117 h 356234"/>
                    <a:gd name="connsiteX3" fmla="*/ 178117 w 356234"/>
                    <a:gd name="connsiteY3" fmla="*/ 0 h 356234"/>
                    <a:gd name="connsiteX4" fmla="*/ 356235 w 356234"/>
                    <a:gd name="connsiteY4" fmla="*/ 178117 h 3562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234" h="356234">
                      <a:moveTo>
                        <a:pt x="356235" y="178117"/>
                      </a:moveTo>
                      <a:cubicBezTo>
                        <a:pt x="356235" y="276225"/>
                        <a:pt x="276225" y="356235"/>
                        <a:pt x="178117" y="356235"/>
                      </a:cubicBezTo>
                      <a:cubicBezTo>
                        <a:pt x="80010" y="356235"/>
                        <a:pt x="0" y="276225"/>
                        <a:pt x="0" y="178117"/>
                      </a:cubicBezTo>
                      <a:cubicBezTo>
                        <a:pt x="0" y="80010"/>
                        <a:pt x="80010" y="0"/>
                        <a:pt x="178117" y="0"/>
                      </a:cubicBezTo>
                      <a:cubicBezTo>
                        <a:pt x="277178" y="0"/>
                        <a:pt x="356235" y="80010"/>
                        <a:pt x="356235" y="178117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7" name="任意多边形 178">
                  <a:extLst>
                    <a:ext uri="{FF2B5EF4-FFF2-40B4-BE49-F238E27FC236}">
                      <a16:creationId xmlns:a16="http://schemas.microsoft.com/office/drawing/2014/main" id="{F88428BB-E988-EE1D-7B4A-A2175BCC689A}"/>
                    </a:ext>
                  </a:extLst>
                </p:cNvPr>
                <p:cNvSpPr/>
                <p:nvPr/>
              </p:nvSpPr>
              <p:spPr>
                <a:xfrm>
                  <a:off x="6644639" y="1199197"/>
                  <a:ext cx="419100" cy="419099"/>
                </a:xfrm>
                <a:custGeom>
                  <a:avLst/>
                  <a:gdLst>
                    <a:gd name="connsiteX0" fmla="*/ 419100 w 419100"/>
                    <a:gd name="connsiteY0" fmla="*/ 209550 h 419099"/>
                    <a:gd name="connsiteX1" fmla="*/ 209550 w 419100"/>
                    <a:gd name="connsiteY1" fmla="*/ 419100 h 419099"/>
                    <a:gd name="connsiteX2" fmla="*/ 0 w 419100"/>
                    <a:gd name="connsiteY2" fmla="*/ 209550 h 419099"/>
                    <a:gd name="connsiteX3" fmla="*/ 209550 w 419100"/>
                    <a:gd name="connsiteY3" fmla="*/ 0 h 419099"/>
                    <a:gd name="connsiteX4" fmla="*/ 419100 w 419100"/>
                    <a:gd name="connsiteY4" fmla="*/ 209550 h 419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9100" h="419099">
                      <a:moveTo>
                        <a:pt x="419100" y="209550"/>
                      </a:moveTo>
                      <a:cubicBezTo>
                        <a:pt x="419100" y="325755"/>
                        <a:pt x="324803" y="419100"/>
                        <a:pt x="209550" y="419100"/>
                      </a:cubicBezTo>
                      <a:cubicBezTo>
                        <a:pt x="93345" y="419100"/>
                        <a:pt x="0" y="324803"/>
                        <a:pt x="0" y="209550"/>
                      </a:cubicBezTo>
                      <a:cubicBezTo>
                        <a:pt x="0" y="93345"/>
                        <a:pt x="94297" y="0"/>
                        <a:pt x="209550" y="0"/>
                      </a:cubicBezTo>
                      <a:cubicBezTo>
                        <a:pt x="325755" y="0"/>
                        <a:pt x="419100" y="94298"/>
                        <a:pt x="419100" y="20955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8" name="任意多边形 179">
                  <a:extLst>
                    <a:ext uri="{FF2B5EF4-FFF2-40B4-BE49-F238E27FC236}">
                      <a16:creationId xmlns:a16="http://schemas.microsoft.com/office/drawing/2014/main" id="{9554263F-2169-A2E2-EBCA-EAB998EBDB03}"/>
                    </a:ext>
                  </a:extLst>
                </p:cNvPr>
                <p:cNvSpPr/>
                <p:nvPr/>
              </p:nvSpPr>
              <p:spPr>
                <a:xfrm>
                  <a:off x="5653087" y="1349692"/>
                  <a:ext cx="499109" cy="499110"/>
                </a:xfrm>
                <a:custGeom>
                  <a:avLst/>
                  <a:gdLst>
                    <a:gd name="connsiteX0" fmla="*/ 499110 w 499109"/>
                    <a:gd name="connsiteY0" fmla="*/ 249555 h 499110"/>
                    <a:gd name="connsiteX1" fmla="*/ 249555 w 499109"/>
                    <a:gd name="connsiteY1" fmla="*/ 499110 h 499110"/>
                    <a:gd name="connsiteX2" fmla="*/ 0 w 499109"/>
                    <a:gd name="connsiteY2" fmla="*/ 249555 h 499110"/>
                    <a:gd name="connsiteX3" fmla="*/ 249555 w 499109"/>
                    <a:gd name="connsiteY3" fmla="*/ 0 h 499110"/>
                    <a:gd name="connsiteX4" fmla="*/ 499110 w 499109"/>
                    <a:gd name="connsiteY4" fmla="*/ 249555 h 499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9109" h="499110">
                      <a:moveTo>
                        <a:pt x="499110" y="249555"/>
                      </a:moveTo>
                      <a:cubicBezTo>
                        <a:pt x="499110" y="387667"/>
                        <a:pt x="387668" y="499110"/>
                        <a:pt x="249555" y="499110"/>
                      </a:cubicBezTo>
                      <a:cubicBezTo>
                        <a:pt x="111443" y="499110"/>
                        <a:pt x="0" y="387667"/>
                        <a:pt x="0" y="249555"/>
                      </a:cubicBezTo>
                      <a:cubicBezTo>
                        <a:pt x="0" y="111442"/>
                        <a:pt x="111443" y="0"/>
                        <a:pt x="249555" y="0"/>
                      </a:cubicBezTo>
                      <a:cubicBezTo>
                        <a:pt x="386715" y="0"/>
                        <a:pt x="499110" y="111442"/>
                        <a:pt x="499110" y="249555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00FFA798-9BCA-0061-7C06-5D5DB71C5A46}"/>
                </a:ext>
              </a:extLst>
            </p:cNvPr>
            <p:cNvGrpSpPr/>
            <p:nvPr/>
          </p:nvGrpSpPr>
          <p:grpSpPr>
            <a:xfrm>
              <a:off x="3252047" y="2196916"/>
              <a:ext cx="995191" cy="2508433"/>
              <a:chOff x="3216962" y="264294"/>
              <a:chExt cx="995191" cy="2508433"/>
            </a:xfrm>
          </p:grpSpPr>
          <p:sp>
            <p:nvSpPr>
              <p:cNvPr id="56" name="任意多边形 183">
                <a:extLst>
                  <a:ext uri="{FF2B5EF4-FFF2-40B4-BE49-F238E27FC236}">
                    <a16:creationId xmlns:a16="http://schemas.microsoft.com/office/drawing/2014/main" id="{8D36E804-2426-3841-ADF6-A82977FC7192}"/>
                  </a:ext>
                </a:extLst>
              </p:cNvPr>
              <p:cNvSpPr/>
              <p:nvPr/>
            </p:nvSpPr>
            <p:spPr>
              <a:xfrm>
                <a:off x="3281110" y="264294"/>
                <a:ext cx="868010" cy="2011450"/>
              </a:xfrm>
              <a:custGeom>
                <a:avLst/>
                <a:gdLst>
                  <a:gd name="connsiteX0" fmla="*/ 526032 w 868010"/>
                  <a:gd name="connsiteY0" fmla="*/ 1999798 h 2011450"/>
                  <a:gd name="connsiteX1" fmla="*/ 838452 w 868010"/>
                  <a:gd name="connsiteY1" fmla="*/ 1649278 h 2011450"/>
                  <a:gd name="connsiteX2" fmla="*/ 768919 w 868010"/>
                  <a:gd name="connsiteY2" fmla="*/ 172903 h 2011450"/>
                  <a:gd name="connsiteX3" fmla="*/ 105979 w 868010"/>
                  <a:gd name="connsiteY3" fmla="*/ 97656 h 2011450"/>
                  <a:gd name="connsiteX4" fmla="*/ 35495 w 868010"/>
                  <a:gd name="connsiteY4" fmla="*/ 1321618 h 2011450"/>
                  <a:gd name="connsiteX5" fmla="*/ 526032 w 868010"/>
                  <a:gd name="connsiteY5" fmla="*/ 1999798 h 201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8010" h="2011450">
                    <a:moveTo>
                      <a:pt x="526032" y="1999798"/>
                    </a:moveTo>
                    <a:cubicBezTo>
                      <a:pt x="643190" y="1975033"/>
                      <a:pt x="826069" y="1932171"/>
                      <a:pt x="838452" y="1649278"/>
                    </a:cubicBezTo>
                    <a:cubicBezTo>
                      <a:pt x="850835" y="1367338"/>
                      <a:pt x="927987" y="352926"/>
                      <a:pt x="768919" y="172903"/>
                    </a:cubicBezTo>
                    <a:cubicBezTo>
                      <a:pt x="609852" y="-8072"/>
                      <a:pt x="305052" y="-69032"/>
                      <a:pt x="105979" y="97656"/>
                    </a:cubicBezTo>
                    <a:cubicBezTo>
                      <a:pt x="-93093" y="263391"/>
                      <a:pt x="52639" y="1125403"/>
                      <a:pt x="35495" y="1321618"/>
                    </a:cubicBezTo>
                    <a:cubicBezTo>
                      <a:pt x="17397" y="1517833"/>
                      <a:pt x="42162" y="2100763"/>
                      <a:pt x="526032" y="19997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 184">
                <a:extLst>
                  <a:ext uri="{FF2B5EF4-FFF2-40B4-BE49-F238E27FC236}">
                    <a16:creationId xmlns:a16="http://schemas.microsoft.com/office/drawing/2014/main" id="{5106A0EA-896B-CB77-B61C-7671FAC5E0C1}"/>
                  </a:ext>
                </a:extLst>
              </p:cNvPr>
              <p:cNvSpPr/>
              <p:nvPr/>
            </p:nvSpPr>
            <p:spPr>
              <a:xfrm>
                <a:off x="3702315" y="1480537"/>
                <a:ext cx="489368" cy="580319"/>
              </a:xfrm>
              <a:custGeom>
                <a:avLst/>
                <a:gdLst>
                  <a:gd name="connsiteX0" fmla="*/ 230556 w 489368"/>
                  <a:gd name="connsiteY0" fmla="*/ 579720 h 580319"/>
                  <a:gd name="connsiteX1" fmla="*/ 462966 w 489368"/>
                  <a:gd name="connsiteY1" fmla="*/ 432083 h 580319"/>
                  <a:gd name="connsiteX2" fmla="*/ 380099 w 489368"/>
                  <a:gd name="connsiteY2" fmla="*/ 32985 h 580319"/>
                  <a:gd name="connsiteX3" fmla="*/ 21006 w 489368"/>
                  <a:gd name="connsiteY3" fmla="*/ 136808 h 580319"/>
                  <a:gd name="connsiteX4" fmla="*/ 230556 w 489368"/>
                  <a:gd name="connsiteY4" fmla="*/ 579720 h 580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9368" h="580319">
                    <a:moveTo>
                      <a:pt x="230556" y="579720"/>
                    </a:moveTo>
                    <a:cubicBezTo>
                      <a:pt x="335331" y="573053"/>
                      <a:pt x="423914" y="542573"/>
                      <a:pt x="462966" y="432083"/>
                    </a:cubicBezTo>
                    <a:cubicBezTo>
                      <a:pt x="502019" y="321593"/>
                      <a:pt x="514401" y="113948"/>
                      <a:pt x="380099" y="32985"/>
                    </a:cubicBezTo>
                    <a:cubicBezTo>
                      <a:pt x="246749" y="-47977"/>
                      <a:pt x="58154" y="32985"/>
                      <a:pt x="21006" y="136808"/>
                    </a:cubicBezTo>
                    <a:cubicBezTo>
                      <a:pt x="-16141" y="241583"/>
                      <a:pt x="-33286" y="596865"/>
                      <a:pt x="230556" y="57972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 185">
                <a:extLst>
                  <a:ext uri="{FF2B5EF4-FFF2-40B4-BE49-F238E27FC236}">
                    <a16:creationId xmlns:a16="http://schemas.microsoft.com/office/drawing/2014/main" id="{0B8BD6D3-84C7-8C25-A59F-75891DBCFFBB}"/>
                  </a:ext>
                </a:extLst>
              </p:cNvPr>
              <p:cNvSpPr/>
              <p:nvPr/>
            </p:nvSpPr>
            <p:spPr>
              <a:xfrm>
                <a:off x="3653789" y="948689"/>
                <a:ext cx="150495" cy="1824037"/>
              </a:xfrm>
              <a:custGeom>
                <a:avLst/>
                <a:gdLst>
                  <a:gd name="connsiteX0" fmla="*/ 150495 w 150495"/>
                  <a:gd name="connsiteY0" fmla="*/ 1824038 h 1824037"/>
                  <a:gd name="connsiteX1" fmla="*/ 0 w 150495"/>
                  <a:gd name="connsiteY1" fmla="*/ 1824038 h 1824037"/>
                  <a:gd name="connsiteX2" fmla="*/ 51435 w 150495"/>
                  <a:gd name="connsiteY2" fmla="*/ 0 h 1824037"/>
                  <a:gd name="connsiteX3" fmla="*/ 99060 w 150495"/>
                  <a:gd name="connsiteY3" fmla="*/ 0 h 1824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495" h="1824037">
                    <a:moveTo>
                      <a:pt x="150495" y="1824038"/>
                    </a:moveTo>
                    <a:lnTo>
                      <a:pt x="0" y="1824038"/>
                    </a:lnTo>
                    <a:lnTo>
                      <a:pt x="51435" y="0"/>
                    </a:lnTo>
                    <a:lnTo>
                      <a:pt x="9906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 186">
                <a:extLst>
                  <a:ext uri="{FF2B5EF4-FFF2-40B4-BE49-F238E27FC236}">
                    <a16:creationId xmlns:a16="http://schemas.microsoft.com/office/drawing/2014/main" id="{325AA8C7-F6B9-38DC-6F55-3175003A4918}"/>
                  </a:ext>
                </a:extLst>
              </p:cNvPr>
              <p:cNvSpPr/>
              <p:nvPr/>
            </p:nvSpPr>
            <p:spPr>
              <a:xfrm>
                <a:off x="3443804" y="838200"/>
                <a:ext cx="284279" cy="289560"/>
              </a:xfrm>
              <a:custGeom>
                <a:avLst/>
                <a:gdLst>
                  <a:gd name="connsiteX0" fmla="*/ 284280 w 284279"/>
                  <a:gd name="connsiteY0" fmla="*/ 235267 h 289560"/>
                  <a:gd name="connsiteX1" fmla="*/ 64252 w 284279"/>
                  <a:gd name="connsiteY1" fmla="*/ 0 h 289560"/>
                  <a:gd name="connsiteX2" fmla="*/ 435 w 284279"/>
                  <a:gd name="connsiteY2" fmla="*/ 20002 h 289560"/>
                  <a:gd name="connsiteX3" fmla="*/ 281422 w 284279"/>
                  <a:gd name="connsiteY3" fmla="*/ 289560 h 289560"/>
                  <a:gd name="connsiteX4" fmla="*/ 284280 w 284279"/>
                  <a:gd name="connsiteY4" fmla="*/ 235267 h 289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60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 187">
                <a:extLst>
                  <a:ext uri="{FF2B5EF4-FFF2-40B4-BE49-F238E27FC236}">
                    <a16:creationId xmlns:a16="http://schemas.microsoft.com/office/drawing/2014/main" id="{DC3531B5-95DF-0E14-CD45-BF50ECF0C337}"/>
                  </a:ext>
                </a:extLst>
              </p:cNvPr>
              <p:cNvSpPr/>
              <p:nvPr/>
            </p:nvSpPr>
            <p:spPr>
              <a:xfrm>
                <a:off x="3443804" y="1560195"/>
                <a:ext cx="284279" cy="289559"/>
              </a:xfrm>
              <a:custGeom>
                <a:avLst/>
                <a:gdLst>
                  <a:gd name="connsiteX0" fmla="*/ 284280 w 284279"/>
                  <a:gd name="connsiteY0" fmla="*/ 235267 h 289559"/>
                  <a:gd name="connsiteX1" fmla="*/ 64252 w 284279"/>
                  <a:gd name="connsiteY1" fmla="*/ 0 h 289559"/>
                  <a:gd name="connsiteX2" fmla="*/ 435 w 284279"/>
                  <a:gd name="connsiteY2" fmla="*/ 20002 h 289559"/>
                  <a:gd name="connsiteX3" fmla="*/ 281422 w 284279"/>
                  <a:gd name="connsiteY3" fmla="*/ 289560 h 289559"/>
                  <a:gd name="connsiteX4" fmla="*/ 284280 w 284279"/>
                  <a:gd name="connsiteY4" fmla="*/ 235267 h 289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279" h="289559">
                    <a:moveTo>
                      <a:pt x="284280" y="235267"/>
                    </a:moveTo>
                    <a:cubicBezTo>
                      <a:pt x="284280" y="235267"/>
                      <a:pt x="29962" y="245745"/>
                      <a:pt x="64252" y="0"/>
                    </a:cubicBezTo>
                    <a:lnTo>
                      <a:pt x="435" y="20002"/>
                    </a:lnTo>
                    <a:cubicBezTo>
                      <a:pt x="435" y="20002"/>
                      <a:pt x="-23378" y="241935"/>
                      <a:pt x="281422" y="289560"/>
                    </a:cubicBezTo>
                    <a:lnTo>
                      <a:pt x="284280" y="23526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 188">
                <a:extLst>
                  <a:ext uri="{FF2B5EF4-FFF2-40B4-BE49-F238E27FC236}">
                    <a16:creationId xmlns:a16="http://schemas.microsoft.com/office/drawing/2014/main" id="{E2A4489C-D121-070F-FF5E-0A9986841204}"/>
                  </a:ext>
                </a:extLst>
              </p:cNvPr>
              <p:cNvSpPr/>
              <p:nvPr/>
            </p:nvSpPr>
            <p:spPr>
              <a:xfrm>
                <a:off x="3724274" y="1116329"/>
                <a:ext cx="317182" cy="255270"/>
              </a:xfrm>
              <a:custGeom>
                <a:avLst/>
                <a:gdLst>
                  <a:gd name="connsiteX0" fmla="*/ 5715 w 317182"/>
                  <a:gd name="connsiteY0" fmla="*/ 200978 h 255270"/>
                  <a:gd name="connsiteX1" fmla="*/ 257175 w 317182"/>
                  <a:gd name="connsiteY1" fmla="*/ 0 h 255270"/>
                  <a:gd name="connsiteX2" fmla="*/ 317183 w 317182"/>
                  <a:gd name="connsiteY2" fmla="*/ 29528 h 255270"/>
                  <a:gd name="connsiteX3" fmla="*/ 0 w 317182"/>
                  <a:gd name="connsiteY3" fmla="*/ 255270 h 255270"/>
                  <a:gd name="connsiteX4" fmla="*/ 5715 w 317182"/>
                  <a:gd name="connsiteY4" fmla="*/ 200978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7182" h="255270">
                    <a:moveTo>
                      <a:pt x="5715" y="200978"/>
                    </a:moveTo>
                    <a:cubicBezTo>
                      <a:pt x="5715" y="200978"/>
                      <a:pt x="255270" y="248603"/>
                      <a:pt x="257175" y="0"/>
                    </a:cubicBezTo>
                    <a:lnTo>
                      <a:pt x="317183" y="29528"/>
                    </a:lnTo>
                    <a:cubicBezTo>
                      <a:pt x="317183" y="29528"/>
                      <a:pt x="308610" y="252413"/>
                      <a:pt x="0" y="255270"/>
                    </a:cubicBezTo>
                    <a:lnTo>
                      <a:pt x="5715" y="2009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 189">
                <a:extLst>
                  <a:ext uri="{FF2B5EF4-FFF2-40B4-BE49-F238E27FC236}">
                    <a16:creationId xmlns:a16="http://schemas.microsoft.com/office/drawing/2014/main" id="{9229FADB-D29B-0DB3-F276-1F3E7CB4E967}"/>
                  </a:ext>
                </a:extLst>
              </p:cNvPr>
              <p:cNvSpPr/>
              <p:nvPr/>
            </p:nvSpPr>
            <p:spPr>
              <a:xfrm>
                <a:off x="3741419" y="1302067"/>
                <a:ext cx="199239" cy="294322"/>
              </a:xfrm>
              <a:custGeom>
                <a:avLst/>
                <a:gdLst>
                  <a:gd name="connsiteX0" fmla="*/ 0 w 199239"/>
                  <a:gd name="connsiteY0" fmla="*/ 239078 h 294322"/>
                  <a:gd name="connsiteX1" fmla="*/ 155257 w 199239"/>
                  <a:gd name="connsiteY1" fmla="*/ 953 h 294322"/>
                  <a:gd name="connsiteX2" fmla="*/ 199072 w 199239"/>
                  <a:gd name="connsiteY2" fmla="*/ 0 h 294322"/>
                  <a:gd name="connsiteX3" fmla="*/ 952 w 199239"/>
                  <a:gd name="connsiteY3" fmla="*/ 294323 h 294322"/>
                  <a:gd name="connsiteX4" fmla="*/ 0 w 199239"/>
                  <a:gd name="connsiteY4" fmla="*/ 239078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8"/>
                    </a:moveTo>
                    <a:cubicBezTo>
                      <a:pt x="0" y="239078"/>
                      <a:pt x="175260" y="245745"/>
                      <a:pt x="155257" y="953"/>
                    </a:cubicBezTo>
                    <a:lnTo>
                      <a:pt x="199072" y="0"/>
                    </a:lnTo>
                    <a:cubicBezTo>
                      <a:pt x="199072" y="0"/>
                      <a:pt x="212408" y="240983"/>
                      <a:pt x="952" y="294323"/>
                    </a:cubicBezTo>
                    <a:lnTo>
                      <a:pt x="0" y="239078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 190">
                <a:extLst>
                  <a:ext uri="{FF2B5EF4-FFF2-40B4-BE49-F238E27FC236}">
                    <a16:creationId xmlns:a16="http://schemas.microsoft.com/office/drawing/2014/main" id="{11D83712-0150-A116-DB7E-DA13F85EFA2F}"/>
                  </a:ext>
                </a:extLst>
              </p:cNvPr>
              <p:cNvSpPr/>
              <p:nvPr/>
            </p:nvSpPr>
            <p:spPr>
              <a:xfrm>
                <a:off x="3741419" y="1663065"/>
                <a:ext cx="199239" cy="294322"/>
              </a:xfrm>
              <a:custGeom>
                <a:avLst/>
                <a:gdLst>
                  <a:gd name="connsiteX0" fmla="*/ 0 w 199239"/>
                  <a:gd name="connsiteY0" fmla="*/ 239077 h 294322"/>
                  <a:gd name="connsiteX1" fmla="*/ 155257 w 199239"/>
                  <a:gd name="connsiteY1" fmla="*/ 952 h 294322"/>
                  <a:gd name="connsiteX2" fmla="*/ 199072 w 199239"/>
                  <a:gd name="connsiteY2" fmla="*/ 0 h 294322"/>
                  <a:gd name="connsiteX3" fmla="*/ 952 w 199239"/>
                  <a:gd name="connsiteY3" fmla="*/ 294322 h 294322"/>
                  <a:gd name="connsiteX4" fmla="*/ 0 w 199239"/>
                  <a:gd name="connsiteY4" fmla="*/ 239077 h 294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239" h="294322">
                    <a:moveTo>
                      <a:pt x="0" y="239077"/>
                    </a:moveTo>
                    <a:cubicBezTo>
                      <a:pt x="0" y="239077"/>
                      <a:pt x="175260" y="245745"/>
                      <a:pt x="155257" y="952"/>
                    </a:cubicBezTo>
                    <a:lnTo>
                      <a:pt x="199072" y="0"/>
                    </a:lnTo>
                    <a:cubicBezTo>
                      <a:pt x="199072" y="0"/>
                      <a:pt x="212408" y="240982"/>
                      <a:pt x="952" y="294322"/>
                    </a:cubicBezTo>
                    <a:lnTo>
                      <a:pt x="0" y="239077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 191">
                <a:extLst>
                  <a:ext uri="{FF2B5EF4-FFF2-40B4-BE49-F238E27FC236}">
                    <a16:creationId xmlns:a16="http://schemas.microsoft.com/office/drawing/2014/main" id="{D99E69D0-B8F3-69B6-3CD2-EE0473C2DAF1}"/>
                  </a:ext>
                </a:extLst>
              </p:cNvPr>
              <p:cNvSpPr/>
              <p:nvPr/>
            </p:nvSpPr>
            <p:spPr>
              <a:xfrm>
                <a:off x="3216962" y="326204"/>
                <a:ext cx="488947" cy="660283"/>
              </a:xfrm>
              <a:custGeom>
                <a:avLst/>
                <a:gdLst>
                  <a:gd name="connsiteX0" fmla="*/ 230135 w 488947"/>
                  <a:gd name="connsiteY0" fmla="*/ 659633 h 660283"/>
                  <a:gd name="connsiteX1" fmla="*/ 462545 w 488947"/>
                  <a:gd name="connsiteY1" fmla="*/ 491993 h 660283"/>
                  <a:gd name="connsiteX2" fmla="*/ 379677 w 488947"/>
                  <a:gd name="connsiteY2" fmla="*/ 37650 h 660283"/>
                  <a:gd name="connsiteX3" fmla="*/ 20585 w 488947"/>
                  <a:gd name="connsiteY3" fmla="*/ 155760 h 660283"/>
                  <a:gd name="connsiteX4" fmla="*/ 230135 w 488947"/>
                  <a:gd name="connsiteY4" fmla="*/ 659633 h 660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8947" h="660283">
                    <a:moveTo>
                      <a:pt x="230135" y="659633"/>
                    </a:moveTo>
                    <a:cubicBezTo>
                      <a:pt x="334910" y="652013"/>
                      <a:pt x="423492" y="617723"/>
                      <a:pt x="462545" y="491993"/>
                    </a:cubicBezTo>
                    <a:cubicBezTo>
                      <a:pt x="501597" y="366263"/>
                      <a:pt x="513980" y="130043"/>
                      <a:pt x="379677" y="37650"/>
                    </a:cubicBezTo>
                    <a:cubicBezTo>
                      <a:pt x="246327" y="-54742"/>
                      <a:pt x="57732" y="37650"/>
                      <a:pt x="20585" y="155760"/>
                    </a:cubicBezTo>
                    <a:cubicBezTo>
                      <a:pt x="-15610" y="273870"/>
                      <a:pt x="-33708" y="678683"/>
                      <a:pt x="230135" y="659633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 192">
                <a:extLst>
                  <a:ext uri="{FF2B5EF4-FFF2-40B4-BE49-F238E27FC236}">
                    <a16:creationId xmlns:a16="http://schemas.microsoft.com/office/drawing/2014/main" id="{D602609B-977C-4AB2-CAB6-1BFD6928C0B2}"/>
                  </a:ext>
                </a:extLst>
              </p:cNvPr>
              <p:cNvSpPr/>
              <p:nvPr/>
            </p:nvSpPr>
            <p:spPr>
              <a:xfrm>
                <a:off x="3871574" y="708915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 193">
                <a:extLst>
                  <a:ext uri="{FF2B5EF4-FFF2-40B4-BE49-F238E27FC236}">
                    <a16:creationId xmlns:a16="http://schemas.microsoft.com/office/drawing/2014/main" id="{54675573-AB2E-3D63-7C15-B0303F1B20F6}"/>
                  </a:ext>
                </a:extLst>
              </p:cNvPr>
              <p:cNvSpPr/>
              <p:nvPr/>
            </p:nvSpPr>
            <p:spPr>
              <a:xfrm>
                <a:off x="3242924" y="1171830"/>
                <a:ext cx="340578" cy="459308"/>
              </a:xfrm>
              <a:custGeom>
                <a:avLst/>
                <a:gdLst>
                  <a:gd name="connsiteX0" fmla="*/ 160357 w 340578"/>
                  <a:gd name="connsiteY0" fmla="*/ 458850 h 459308"/>
                  <a:gd name="connsiteX1" fmla="*/ 322282 w 340578"/>
                  <a:gd name="connsiteY1" fmla="*/ 342645 h 459308"/>
                  <a:gd name="connsiteX2" fmla="*/ 265132 w 340578"/>
                  <a:gd name="connsiteY2" fmla="*/ 26415 h 459308"/>
                  <a:gd name="connsiteX3" fmla="*/ 14625 w 340578"/>
                  <a:gd name="connsiteY3" fmla="*/ 108330 h 459308"/>
                  <a:gd name="connsiteX4" fmla="*/ 160357 w 340578"/>
                  <a:gd name="connsiteY4" fmla="*/ 458850 h 4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578" h="459308">
                    <a:moveTo>
                      <a:pt x="160357" y="458850"/>
                    </a:moveTo>
                    <a:cubicBezTo>
                      <a:pt x="232747" y="453135"/>
                      <a:pt x="295612" y="429322"/>
                      <a:pt x="322282" y="342645"/>
                    </a:cubicBezTo>
                    <a:cubicBezTo>
                      <a:pt x="348952" y="255015"/>
                      <a:pt x="358477" y="91185"/>
                      <a:pt x="265132" y="26415"/>
                    </a:cubicBezTo>
                    <a:cubicBezTo>
                      <a:pt x="171787" y="-38355"/>
                      <a:pt x="41295" y="26415"/>
                      <a:pt x="14625" y="108330"/>
                    </a:cubicBezTo>
                    <a:cubicBezTo>
                      <a:pt x="-11093" y="191197"/>
                      <a:pt x="-23475" y="472185"/>
                      <a:pt x="160357" y="45885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68641011-B90A-E089-4277-1269FB7D09E0}"/>
                </a:ext>
              </a:extLst>
            </p:cNvPr>
            <p:cNvGrpSpPr/>
            <p:nvPr/>
          </p:nvGrpSpPr>
          <p:grpSpPr>
            <a:xfrm>
              <a:off x="4118451" y="4450079"/>
              <a:ext cx="707707" cy="256222"/>
              <a:chOff x="4083366" y="2517457"/>
              <a:chExt cx="707707" cy="256222"/>
            </a:xfrm>
          </p:grpSpPr>
          <p:sp>
            <p:nvSpPr>
              <p:cNvPr id="52" name="任意多边形 196">
                <a:extLst>
                  <a:ext uri="{FF2B5EF4-FFF2-40B4-BE49-F238E27FC236}">
                    <a16:creationId xmlns:a16="http://schemas.microsoft.com/office/drawing/2014/main" id="{D5154B23-8E67-3DEE-4A42-B663068245B9}"/>
                  </a:ext>
                </a:extLst>
              </p:cNvPr>
              <p:cNvSpPr/>
              <p:nvPr/>
            </p:nvSpPr>
            <p:spPr>
              <a:xfrm>
                <a:off x="4195762" y="2517457"/>
                <a:ext cx="510540" cy="255270"/>
              </a:xfrm>
              <a:custGeom>
                <a:avLst/>
                <a:gdLst>
                  <a:gd name="connsiteX0" fmla="*/ 255270 w 510540"/>
                  <a:gd name="connsiteY0" fmla="*/ 0 h 255270"/>
                  <a:gd name="connsiteX1" fmla="*/ 0 w 510540"/>
                  <a:gd name="connsiteY1" fmla="*/ 255270 h 255270"/>
                  <a:gd name="connsiteX2" fmla="*/ 510540 w 510540"/>
                  <a:gd name="connsiteY2" fmla="*/ 255270 h 255270"/>
                  <a:gd name="connsiteX3" fmla="*/ 255270 w 510540"/>
                  <a:gd name="connsiteY3" fmla="*/ 0 h 255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0540" h="255270">
                    <a:moveTo>
                      <a:pt x="255270" y="0"/>
                    </a:moveTo>
                    <a:cubicBezTo>
                      <a:pt x="114300" y="0"/>
                      <a:pt x="0" y="114300"/>
                      <a:pt x="0" y="255270"/>
                    </a:cubicBezTo>
                    <a:lnTo>
                      <a:pt x="510540" y="255270"/>
                    </a:lnTo>
                    <a:cubicBezTo>
                      <a:pt x="510540" y="114300"/>
                      <a:pt x="396240" y="0"/>
                      <a:pt x="255270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 197">
                <a:extLst>
                  <a:ext uri="{FF2B5EF4-FFF2-40B4-BE49-F238E27FC236}">
                    <a16:creationId xmlns:a16="http://schemas.microsoft.com/office/drawing/2014/main" id="{8AD2BD82-209E-26BD-0B77-846320860A18}"/>
                  </a:ext>
                </a:extLst>
              </p:cNvPr>
              <p:cNvSpPr/>
              <p:nvPr/>
            </p:nvSpPr>
            <p:spPr>
              <a:xfrm>
                <a:off x="4083366" y="2619375"/>
                <a:ext cx="307657" cy="154305"/>
              </a:xfrm>
              <a:custGeom>
                <a:avLst/>
                <a:gdLst>
                  <a:gd name="connsiteX0" fmla="*/ 154305 w 307657"/>
                  <a:gd name="connsiteY0" fmla="*/ 0 h 154305"/>
                  <a:gd name="connsiteX1" fmla="*/ 0 w 307657"/>
                  <a:gd name="connsiteY1" fmla="*/ 154305 h 154305"/>
                  <a:gd name="connsiteX2" fmla="*/ 307658 w 307657"/>
                  <a:gd name="connsiteY2" fmla="*/ 154305 h 154305"/>
                  <a:gd name="connsiteX3" fmla="*/ 154305 w 307657"/>
                  <a:gd name="connsiteY3" fmla="*/ 0 h 154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7657" h="154305">
                    <a:moveTo>
                      <a:pt x="154305" y="0"/>
                    </a:moveTo>
                    <a:cubicBezTo>
                      <a:pt x="69533" y="0"/>
                      <a:pt x="0" y="68580"/>
                      <a:pt x="0" y="154305"/>
                    </a:cubicBezTo>
                    <a:lnTo>
                      <a:pt x="307658" y="154305"/>
                    </a:lnTo>
                    <a:cubicBezTo>
                      <a:pt x="307658" y="68580"/>
                      <a:pt x="239078" y="0"/>
                      <a:pt x="15430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 198">
                <a:extLst>
                  <a:ext uri="{FF2B5EF4-FFF2-40B4-BE49-F238E27FC236}">
                    <a16:creationId xmlns:a16="http://schemas.microsoft.com/office/drawing/2014/main" id="{18F16F46-2591-921D-7C7B-CDECA985F903}"/>
                  </a:ext>
                </a:extLst>
              </p:cNvPr>
              <p:cNvSpPr/>
              <p:nvPr/>
            </p:nvSpPr>
            <p:spPr>
              <a:xfrm>
                <a:off x="4277677" y="2664142"/>
                <a:ext cx="217169" cy="108584"/>
              </a:xfrm>
              <a:custGeom>
                <a:avLst/>
                <a:gdLst>
                  <a:gd name="connsiteX0" fmla="*/ 108585 w 217169"/>
                  <a:gd name="connsiteY0" fmla="*/ 0 h 108584"/>
                  <a:gd name="connsiteX1" fmla="*/ 0 w 217169"/>
                  <a:gd name="connsiteY1" fmla="*/ 108585 h 108584"/>
                  <a:gd name="connsiteX2" fmla="*/ 217170 w 217169"/>
                  <a:gd name="connsiteY2" fmla="*/ 108585 h 108584"/>
                  <a:gd name="connsiteX3" fmla="*/ 108585 w 217169"/>
                  <a:gd name="connsiteY3" fmla="*/ 0 h 108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7169" h="108584">
                    <a:moveTo>
                      <a:pt x="108585" y="0"/>
                    </a:moveTo>
                    <a:cubicBezTo>
                      <a:pt x="48577" y="0"/>
                      <a:pt x="0" y="48577"/>
                      <a:pt x="0" y="108585"/>
                    </a:cubicBezTo>
                    <a:lnTo>
                      <a:pt x="217170" y="108585"/>
                    </a:lnTo>
                    <a:cubicBezTo>
                      <a:pt x="217170" y="48577"/>
                      <a:pt x="168592" y="0"/>
                      <a:pt x="108585" y="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 199">
                <a:extLst>
                  <a:ext uri="{FF2B5EF4-FFF2-40B4-BE49-F238E27FC236}">
                    <a16:creationId xmlns:a16="http://schemas.microsoft.com/office/drawing/2014/main" id="{1CA7C18D-A455-0A92-D20E-401FCB3EF342}"/>
                  </a:ext>
                </a:extLst>
              </p:cNvPr>
              <p:cNvSpPr/>
              <p:nvPr/>
            </p:nvSpPr>
            <p:spPr>
              <a:xfrm>
                <a:off x="4589144" y="2671762"/>
                <a:ext cx="201929" cy="100965"/>
              </a:xfrm>
              <a:custGeom>
                <a:avLst/>
                <a:gdLst>
                  <a:gd name="connsiteX0" fmla="*/ 100965 w 201929"/>
                  <a:gd name="connsiteY0" fmla="*/ 0 h 100965"/>
                  <a:gd name="connsiteX1" fmla="*/ 0 w 201929"/>
                  <a:gd name="connsiteY1" fmla="*/ 100965 h 100965"/>
                  <a:gd name="connsiteX2" fmla="*/ 201930 w 201929"/>
                  <a:gd name="connsiteY2" fmla="*/ 100965 h 100965"/>
                  <a:gd name="connsiteX3" fmla="*/ 100965 w 201929"/>
                  <a:gd name="connsiteY3" fmla="*/ 0 h 100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1929" h="100965">
                    <a:moveTo>
                      <a:pt x="100965" y="0"/>
                    </a:moveTo>
                    <a:cubicBezTo>
                      <a:pt x="45720" y="0"/>
                      <a:pt x="0" y="44768"/>
                      <a:pt x="0" y="100965"/>
                    </a:cubicBezTo>
                    <a:lnTo>
                      <a:pt x="201930" y="100965"/>
                    </a:lnTo>
                    <a:cubicBezTo>
                      <a:pt x="201930" y="45720"/>
                      <a:pt x="157163" y="0"/>
                      <a:pt x="100965" y="0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1B1C0826-5D5E-A128-5F40-C8E6137DBFE7}"/>
                </a:ext>
              </a:extLst>
            </p:cNvPr>
            <p:cNvGrpSpPr/>
            <p:nvPr/>
          </p:nvGrpSpPr>
          <p:grpSpPr>
            <a:xfrm>
              <a:off x="7536022" y="4531994"/>
              <a:ext cx="482917" cy="174307"/>
              <a:chOff x="7500937" y="2599372"/>
              <a:chExt cx="482917" cy="174307"/>
            </a:xfrm>
          </p:grpSpPr>
          <p:sp>
            <p:nvSpPr>
              <p:cNvPr id="48" name="任意多边形 201">
                <a:extLst>
                  <a:ext uri="{FF2B5EF4-FFF2-40B4-BE49-F238E27FC236}">
                    <a16:creationId xmlns:a16="http://schemas.microsoft.com/office/drawing/2014/main" id="{C7BD3E5C-09D4-DE5F-FB57-B6BD984036C9}"/>
                  </a:ext>
                </a:extLst>
              </p:cNvPr>
              <p:cNvSpPr/>
              <p:nvPr/>
            </p:nvSpPr>
            <p:spPr>
              <a:xfrm>
                <a:off x="7578089" y="2599372"/>
                <a:ext cx="347662" cy="174307"/>
              </a:xfrm>
              <a:custGeom>
                <a:avLst/>
                <a:gdLst>
                  <a:gd name="connsiteX0" fmla="*/ 174308 w 347662"/>
                  <a:gd name="connsiteY0" fmla="*/ 0 h 174307"/>
                  <a:gd name="connsiteX1" fmla="*/ 0 w 347662"/>
                  <a:gd name="connsiteY1" fmla="*/ 174308 h 174307"/>
                  <a:gd name="connsiteX2" fmla="*/ 347662 w 347662"/>
                  <a:gd name="connsiteY2" fmla="*/ 174308 h 174307"/>
                  <a:gd name="connsiteX3" fmla="*/ 174308 w 347662"/>
                  <a:gd name="connsiteY3" fmla="*/ 0 h 17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7662" h="174307">
                    <a:moveTo>
                      <a:pt x="174308" y="0"/>
                    </a:moveTo>
                    <a:cubicBezTo>
                      <a:pt x="78105" y="0"/>
                      <a:pt x="0" y="78105"/>
                      <a:pt x="0" y="174308"/>
                    </a:cubicBezTo>
                    <a:lnTo>
                      <a:pt x="347662" y="174308"/>
                    </a:lnTo>
                    <a:cubicBezTo>
                      <a:pt x="347662" y="77153"/>
                      <a:pt x="269558" y="0"/>
                      <a:pt x="174308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 202">
                <a:extLst>
                  <a:ext uri="{FF2B5EF4-FFF2-40B4-BE49-F238E27FC236}">
                    <a16:creationId xmlns:a16="http://schemas.microsoft.com/office/drawing/2014/main" id="{9DBED9F7-2C50-C805-A540-3BCF6AEAA3C8}"/>
                  </a:ext>
                </a:extLst>
              </p:cNvPr>
              <p:cNvSpPr/>
              <p:nvPr/>
            </p:nvSpPr>
            <p:spPr>
              <a:xfrm>
                <a:off x="7500937" y="2667952"/>
                <a:ext cx="209550" cy="104775"/>
              </a:xfrm>
              <a:custGeom>
                <a:avLst/>
                <a:gdLst>
                  <a:gd name="connsiteX0" fmla="*/ 104775 w 209550"/>
                  <a:gd name="connsiteY0" fmla="*/ 0 h 104775"/>
                  <a:gd name="connsiteX1" fmla="*/ 0 w 209550"/>
                  <a:gd name="connsiteY1" fmla="*/ 104775 h 104775"/>
                  <a:gd name="connsiteX2" fmla="*/ 209550 w 209550"/>
                  <a:gd name="connsiteY2" fmla="*/ 104775 h 104775"/>
                  <a:gd name="connsiteX3" fmla="*/ 104775 w 209550"/>
                  <a:gd name="connsiteY3" fmla="*/ 0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50" h="104775">
                    <a:moveTo>
                      <a:pt x="104775" y="0"/>
                    </a:moveTo>
                    <a:cubicBezTo>
                      <a:pt x="46672" y="0"/>
                      <a:pt x="0" y="46672"/>
                      <a:pt x="0" y="104775"/>
                    </a:cubicBezTo>
                    <a:lnTo>
                      <a:pt x="209550" y="104775"/>
                    </a:lnTo>
                    <a:cubicBezTo>
                      <a:pt x="209550" y="47625"/>
                      <a:pt x="162877" y="0"/>
                      <a:pt x="10477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 203">
                <a:extLst>
                  <a:ext uri="{FF2B5EF4-FFF2-40B4-BE49-F238E27FC236}">
                    <a16:creationId xmlns:a16="http://schemas.microsoft.com/office/drawing/2014/main" id="{2B325BF3-81FA-6DD5-779C-EA81A9AC21FF}"/>
                  </a:ext>
                </a:extLst>
              </p:cNvPr>
              <p:cNvSpPr/>
              <p:nvPr/>
            </p:nvSpPr>
            <p:spPr>
              <a:xfrm>
                <a:off x="7633334" y="2699384"/>
                <a:ext cx="147637" cy="74295"/>
              </a:xfrm>
              <a:custGeom>
                <a:avLst/>
                <a:gdLst>
                  <a:gd name="connsiteX0" fmla="*/ 74295 w 147637"/>
                  <a:gd name="connsiteY0" fmla="*/ 0 h 74295"/>
                  <a:gd name="connsiteX1" fmla="*/ 0 w 147637"/>
                  <a:gd name="connsiteY1" fmla="*/ 74295 h 74295"/>
                  <a:gd name="connsiteX2" fmla="*/ 147638 w 147637"/>
                  <a:gd name="connsiteY2" fmla="*/ 74295 h 74295"/>
                  <a:gd name="connsiteX3" fmla="*/ 74295 w 147637"/>
                  <a:gd name="connsiteY3" fmla="*/ 0 h 74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7637" h="74295">
                    <a:moveTo>
                      <a:pt x="74295" y="0"/>
                    </a:moveTo>
                    <a:cubicBezTo>
                      <a:pt x="33338" y="0"/>
                      <a:pt x="0" y="33338"/>
                      <a:pt x="0" y="74295"/>
                    </a:cubicBezTo>
                    <a:lnTo>
                      <a:pt x="147638" y="74295"/>
                    </a:lnTo>
                    <a:cubicBezTo>
                      <a:pt x="147638" y="32385"/>
                      <a:pt x="115252" y="0"/>
                      <a:pt x="74295" y="0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 204">
                <a:extLst>
                  <a:ext uri="{FF2B5EF4-FFF2-40B4-BE49-F238E27FC236}">
                    <a16:creationId xmlns:a16="http://schemas.microsoft.com/office/drawing/2014/main" id="{E0BABA65-48E6-E7A1-450A-524CECA5BAC8}"/>
                  </a:ext>
                </a:extLst>
              </p:cNvPr>
              <p:cNvSpPr/>
              <p:nvPr/>
            </p:nvSpPr>
            <p:spPr>
              <a:xfrm>
                <a:off x="7846694" y="2704147"/>
                <a:ext cx="137160" cy="68580"/>
              </a:xfrm>
              <a:custGeom>
                <a:avLst/>
                <a:gdLst>
                  <a:gd name="connsiteX0" fmla="*/ 68580 w 137160"/>
                  <a:gd name="connsiteY0" fmla="*/ 0 h 68580"/>
                  <a:gd name="connsiteX1" fmla="*/ 0 w 137160"/>
                  <a:gd name="connsiteY1" fmla="*/ 68580 h 68580"/>
                  <a:gd name="connsiteX2" fmla="*/ 137160 w 137160"/>
                  <a:gd name="connsiteY2" fmla="*/ 68580 h 68580"/>
                  <a:gd name="connsiteX3" fmla="*/ 68580 w 137160"/>
                  <a:gd name="connsiteY3" fmla="*/ 0 h 68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160" h="68580">
                    <a:moveTo>
                      <a:pt x="68580" y="0"/>
                    </a:moveTo>
                    <a:cubicBezTo>
                      <a:pt x="30480" y="0"/>
                      <a:pt x="0" y="30480"/>
                      <a:pt x="0" y="68580"/>
                    </a:cubicBezTo>
                    <a:lnTo>
                      <a:pt x="137160" y="68580"/>
                    </a:lnTo>
                    <a:cubicBezTo>
                      <a:pt x="137160" y="30480"/>
                      <a:pt x="105728" y="0"/>
                      <a:pt x="6858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7BEDED7B-3F8E-AC69-5F91-8EA761B82CC8}"/>
                </a:ext>
              </a:extLst>
            </p:cNvPr>
            <p:cNvGrpSpPr/>
            <p:nvPr/>
          </p:nvGrpSpPr>
          <p:grpSpPr>
            <a:xfrm>
              <a:off x="4761389" y="3611879"/>
              <a:ext cx="647700" cy="1093470"/>
              <a:chOff x="4726304" y="1679257"/>
              <a:chExt cx="647700" cy="1093470"/>
            </a:xfrm>
          </p:grpSpPr>
          <p:sp>
            <p:nvSpPr>
              <p:cNvPr id="44" name="任意多边形 207">
                <a:extLst>
                  <a:ext uri="{FF2B5EF4-FFF2-40B4-BE49-F238E27FC236}">
                    <a16:creationId xmlns:a16="http://schemas.microsoft.com/office/drawing/2014/main" id="{D9B5E869-10B7-2ED9-092E-CB5D30419FEC}"/>
                  </a:ext>
                </a:extLst>
              </p:cNvPr>
              <p:cNvSpPr/>
              <p:nvPr/>
            </p:nvSpPr>
            <p:spPr>
              <a:xfrm>
                <a:off x="5007291" y="2360295"/>
                <a:ext cx="85725" cy="412432"/>
              </a:xfrm>
              <a:custGeom>
                <a:avLst/>
                <a:gdLst>
                  <a:gd name="connsiteX0" fmla="*/ 0 w 85725"/>
                  <a:gd name="connsiteY0" fmla="*/ 412433 h 412432"/>
                  <a:gd name="connsiteX1" fmla="*/ 85725 w 85725"/>
                  <a:gd name="connsiteY1" fmla="*/ 412433 h 412432"/>
                  <a:gd name="connsiteX2" fmla="*/ 75248 w 85725"/>
                  <a:gd name="connsiteY2" fmla="*/ 0 h 412432"/>
                  <a:gd name="connsiteX3" fmla="*/ 15240 w 85725"/>
                  <a:gd name="connsiteY3" fmla="*/ 0 h 412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5" h="412432">
                    <a:moveTo>
                      <a:pt x="0" y="412433"/>
                    </a:moveTo>
                    <a:lnTo>
                      <a:pt x="85725" y="412433"/>
                    </a:lnTo>
                    <a:lnTo>
                      <a:pt x="75248" y="0"/>
                    </a:lnTo>
                    <a:lnTo>
                      <a:pt x="15240" y="0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 208">
                <a:extLst>
                  <a:ext uri="{FF2B5EF4-FFF2-40B4-BE49-F238E27FC236}">
                    <a16:creationId xmlns:a16="http://schemas.microsoft.com/office/drawing/2014/main" id="{7646E761-4204-F391-9DF2-B5626EA336AF}"/>
                  </a:ext>
                </a:extLst>
              </p:cNvPr>
              <p:cNvSpPr/>
              <p:nvPr/>
            </p:nvSpPr>
            <p:spPr>
              <a:xfrm>
                <a:off x="5028246" y="2368867"/>
                <a:ext cx="172031" cy="227647"/>
              </a:xfrm>
              <a:custGeom>
                <a:avLst/>
                <a:gdLst>
                  <a:gd name="connsiteX0" fmla="*/ 953 w 172031"/>
                  <a:gd name="connsiteY0" fmla="*/ 180023 h 227647"/>
                  <a:gd name="connsiteX1" fmla="*/ 125730 w 172031"/>
                  <a:gd name="connsiteY1" fmla="*/ 0 h 227647"/>
                  <a:gd name="connsiteX2" fmla="*/ 170497 w 172031"/>
                  <a:gd name="connsiteY2" fmla="*/ 7620 h 227647"/>
                  <a:gd name="connsiteX3" fmla="*/ 0 w 172031"/>
                  <a:gd name="connsiteY3" fmla="*/ 227648 h 227647"/>
                  <a:gd name="connsiteX4" fmla="*/ 953 w 172031"/>
                  <a:gd name="connsiteY4" fmla="*/ 180023 h 227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2031" h="227647">
                    <a:moveTo>
                      <a:pt x="953" y="180023"/>
                    </a:moveTo>
                    <a:cubicBezTo>
                      <a:pt x="953" y="180023"/>
                      <a:pt x="172403" y="161925"/>
                      <a:pt x="125730" y="0"/>
                    </a:cubicBezTo>
                    <a:lnTo>
                      <a:pt x="170497" y="7620"/>
                    </a:lnTo>
                    <a:cubicBezTo>
                      <a:pt x="170497" y="7620"/>
                      <a:pt x="200025" y="164783"/>
                      <a:pt x="0" y="227648"/>
                    </a:cubicBezTo>
                    <a:lnTo>
                      <a:pt x="953" y="180023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 209">
                <a:extLst>
                  <a:ext uri="{FF2B5EF4-FFF2-40B4-BE49-F238E27FC236}">
                    <a16:creationId xmlns:a16="http://schemas.microsoft.com/office/drawing/2014/main" id="{D08E45E5-B373-4CCC-461E-85D1EBFE28C0}"/>
                  </a:ext>
                </a:extLst>
              </p:cNvPr>
              <p:cNvSpPr/>
              <p:nvPr/>
            </p:nvSpPr>
            <p:spPr>
              <a:xfrm>
                <a:off x="4907258" y="2329815"/>
                <a:ext cx="142896" cy="184784"/>
              </a:xfrm>
              <a:custGeom>
                <a:avLst/>
                <a:gdLst>
                  <a:gd name="connsiteX0" fmla="*/ 36216 w 142896"/>
                  <a:gd name="connsiteY0" fmla="*/ 12382 h 184784"/>
                  <a:gd name="connsiteX1" fmla="*/ 142896 w 142896"/>
                  <a:gd name="connsiteY1" fmla="*/ 152400 h 184784"/>
                  <a:gd name="connsiteX2" fmla="*/ 125751 w 142896"/>
                  <a:gd name="connsiteY2" fmla="*/ 184785 h 184784"/>
                  <a:gd name="connsiteX3" fmla="*/ 21 w 142896"/>
                  <a:gd name="connsiteY3" fmla="*/ 0 h 184784"/>
                  <a:gd name="connsiteX4" fmla="*/ 36216 w 142896"/>
                  <a:gd name="connsiteY4" fmla="*/ 12382 h 184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896" h="184784">
                    <a:moveTo>
                      <a:pt x="36216" y="12382"/>
                    </a:moveTo>
                    <a:cubicBezTo>
                      <a:pt x="36216" y="12382"/>
                      <a:pt x="7641" y="148590"/>
                      <a:pt x="142896" y="152400"/>
                    </a:cubicBezTo>
                    <a:lnTo>
                      <a:pt x="125751" y="184785"/>
                    </a:lnTo>
                    <a:cubicBezTo>
                      <a:pt x="125751" y="184785"/>
                      <a:pt x="-1884" y="168592"/>
                      <a:pt x="21" y="0"/>
                    </a:cubicBezTo>
                    <a:lnTo>
                      <a:pt x="36216" y="12382"/>
                    </a:lnTo>
                    <a:close/>
                  </a:path>
                </a:pathLst>
              </a:custGeom>
              <a:solidFill>
                <a:srgbClr val="603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 210">
                <a:extLst>
                  <a:ext uri="{FF2B5EF4-FFF2-40B4-BE49-F238E27FC236}">
                    <a16:creationId xmlns:a16="http://schemas.microsoft.com/office/drawing/2014/main" id="{51855C90-C88F-7A58-6DC6-674CB5B7690C}"/>
                  </a:ext>
                </a:extLst>
              </p:cNvPr>
              <p:cNvSpPr/>
              <p:nvPr/>
            </p:nvSpPr>
            <p:spPr>
              <a:xfrm>
                <a:off x="4726304" y="1679257"/>
                <a:ext cx="647700" cy="770572"/>
              </a:xfrm>
              <a:custGeom>
                <a:avLst/>
                <a:gdLst>
                  <a:gd name="connsiteX0" fmla="*/ 647700 w 647700"/>
                  <a:gd name="connsiteY0" fmla="*/ 425767 h 770572"/>
                  <a:gd name="connsiteX1" fmla="*/ 323850 w 647700"/>
                  <a:gd name="connsiteY1" fmla="*/ 770572 h 770572"/>
                  <a:gd name="connsiteX2" fmla="*/ 0 w 647700"/>
                  <a:gd name="connsiteY2" fmla="*/ 425767 h 770572"/>
                  <a:gd name="connsiteX3" fmla="*/ 323850 w 647700"/>
                  <a:gd name="connsiteY3" fmla="*/ 0 h 770572"/>
                  <a:gd name="connsiteX4" fmla="*/ 647700 w 647700"/>
                  <a:gd name="connsiteY4" fmla="*/ 425767 h 770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7700" h="770572">
                    <a:moveTo>
                      <a:pt x="647700" y="425767"/>
                    </a:moveTo>
                    <a:cubicBezTo>
                      <a:pt x="647700" y="661035"/>
                      <a:pt x="502920" y="770572"/>
                      <a:pt x="323850" y="770572"/>
                    </a:cubicBezTo>
                    <a:cubicBezTo>
                      <a:pt x="144780" y="770572"/>
                      <a:pt x="0" y="661988"/>
                      <a:pt x="0" y="425767"/>
                    </a:cubicBezTo>
                    <a:cubicBezTo>
                      <a:pt x="0" y="190500"/>
                      <a:pt x="144780" y="0"/>
                      <a:pt x="323850" y="0"/>
                    </a:cubicBezTo>
                    <a:cubicBezTo>
                      <a:pt x="502920" y="0"/>
                      <a:pt x="647700" y="190500"/>
                      <a:pt x="647700" y="425767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08C872B6-A81B-436C-4C8D-3BA6D8478693}"/>
                </a:ext>
              </a:extLst>
            </p:cNvPr>
            <p:cNvGrpSpPr/>
            <p:nvPr/>
          </p:nvGrpSpPr>
          <p:grpSpPr>
            <a:xfrm>
              <a:off x="6647339" y="4319587"/>
              <a:ext cx="757237" cy="386715"/>
              <a:chOff x="6612254" y="2386965"/>
              <a:chExt cx="757237" cy="386715"/>
            </a:xfrm>
          </p:grpSpPr>
          <p:sp>
            <p:nvSpPr>
              <p:cNvPr id="40" name="任意多边形 213">
                <a:extLst>
                  <a:ext uri="{FF2B5EF4-FFF2-40B4-BE49-F238E27FC236}">
                    <a16:creationId xmlns:a16="http://schemas.microsoft.com/office/drawing/2014/main" id="{2C39F426-E0C4-8751-E940-E13DE8FC9F8C}"/>
                  </a:ext>
                </a:extLst>
              </p:cNvPr>
              <p:cNvSpPr/>
              <p:nvPr/>
            </p:nvSpPr>
            <p:spPr>
              <a:xfrm>
                <a:off x="6612254" y="2611754"/>
                <a:ext cx="181927" cy="160972"/>
              </a:xfrm>
              <a:custGeom>
                <a:avLst/>
                <a:gdLst>
                  <a:gd name="connsiteX0" fmla="*/ 181927 w 181927"/>
                  <a:gd name="connsiteY0" fmla="*/ 18098 h 160972"/>
                  <a:gd name="connsiteX1" fmla="*/ 178117 w 181927"/>
                  <a:gd name="connsiteY1" fmla="*/ 4763 h 160972"/>
                  <a:gd name="connsiteX2" fmla="*/ 147638 w 181927"/>
                  <a:gd name="connsiteY2" fmla="*/ 0 h 160972"/>
                  <a:gd name="connsiteX3" fmla="*/ 0 w 181927"/>
                  <a:gd name="connsiteY3" fmla="*/ 160973 h 160972"/>
                  <a:gd name="connsiteX4" fmla="*/ 87630 w 181927"/>
                  <a:gd name="connsiteY4" fmla="*/ 160973 h 160972"/>
                  <a:gd name="connsiteX5" fmla="*/ 181927 w 181927"/>
                  <a:gd name="connsiteY5" fmla="*/ 18098 h 160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1927" h="160972">
                    <a:moveTo>
                      <a:pt x="181927" y="18098"/>
                    </a:moveTo>
                    <a:cubicBezTo>
                      <a:pt x="180975" y="14288"/>
                      <a:pt x="179070" y="9525"/>
                      <a:pt x="178117" y="4763"/>
                    </a:cubicBezTo>
                    <a:cubicBezTo>
                      <a:pt x="168592" y="1905"/>
                      <a:pt x="158115" y="0"/>
                      <a:pt x="147638" y="0"/>
                    </a:cubicBezTo>
                    <a:cubicBezTo>
                      <a:pt x="79057" y="0"/>
                      <a:pt x="20002" y="67627"/>
                      <a:pt x="0" y="160973"/>
                    </a:cubicBezTo>
                    <a:lnTo>
                      <a:pt x="87630" y="160973"/>
                    </a:lnTo>
                    <a:cubicBezTo>
                      <a:pt x="112395" y="103823"/>
                      <a:pt x="144780" y="55245"/>
                      <a:pt x="181927" y="18098"/>
                    </a:cubicBezTo>
                    <a:close/>
                  </a:path>
                </a:pathLst>
              </a:custGeom>
              <a:solidFill>
                <a:srgbClr val="6EB1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 214">
                <a:extLst>
                  <a:ext uri="{FF2B5EF4-FFF2-40B4-BE49-F238E27FC236}">
                    <a16:creationId xmlns:a16="http://schemas.microsoft.com/office/drawing/2014/main" id="{9DFBF52A-6B2D-A205-6294-4412F20E1D86}"/>
                  </a:ext>
                </a:extLst>
              </p:cNvPr>
              <p:cNvSpPr/>
              <p:nvPr/>
            </p:nvSpPr>
            <p:spPr>
              <a:xfrm>
                <a:off x="6781799" y="2386965"/>
                <a:ext cx="313372" cy="340994"/>
              </a:xfrm>
              <a:custGeom>
                <a:avLst/>
                <a:gdLst>
                  <a:gd name="connsiteX0" fmla="*/ 170497 w 313372"/>
                  <a:gd name="connsiteY0" fmla="*/ 262890 h 340994"/>
                  <a:gd name="connsiteX1" fmla="*/ 313372 w 313372"/>
                  <a:gd name="connsiteY1" fmla="*/ 131445 h 340994"/>
                  <a:gd name="connsiteX2" fmla="*/ 166688 w 313372"/>
                  <a:gd name="connsiteY2" fmla="*/ 0 h 340994"/>
                  <a:gd name="connsiteX3" fmla="*/ 0 w 313372"/>
                  <a:gd name="connsiteY3" fmla="*/ 250507 h 340994"/>
                  <a:gd name="connsiteX4" fmla="*/ 9525 w 313372"/>
                  <a:gd name="connsiteY4" fmla="*/ 327660 h 340994"/>
                  <a:gd name="connsiteX5" fmla="*/ 13335 w 313372"/>
                  <a:gd name="connsiteY5" fmla="*/ 340995 h 340994"/>
                  <a:gd name="connsiteX6" fmla="*/ 170497 w 313372"/>
                  <a:gd name="connsiteY6" fmla="*/ 262890 h 340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3372" h="340994">
                    <a:moveTo>
                      <a:pt x="170497" y="262890"/>
                    </a:moveTo>
                    <a:cubicBezTo>
                      <a:pt x="204788" y="195263"/>
                      <a:pt x="255270" y="147638"/>
                      <a:pt x="313372" y="131445"/>
                    </a:cubicBezTo>
                    <a:cubicBezTo>
                      <a:pt x="284797" y="53340"/>
                      <a:pt x="230505" y="0"/>
                      <a:pt x="166688" y="0"/>
                    </a:cubicBezTo>
                    <a:cubicBezTo>
                      <a:pt x="74295" y="0"/>
                      <a:pt x="0" y="112395"/>
                      <a:pt x="0" y="250507"/>
                    </a:cubicBezTo>
                    <a:cubicBezTo>
                      <a:pt x="0" y="279082"/>
                      <a:pt x="2857" y="304800"/>
                      <a:pt x="9525" y="327660"/>
                    </a:cubicBezTo>
                    <a:cubicBezTo>
                      <a:pt x="10478" y="332422"/>
                      <a:pt x="12382" y="336232"/>
                      <a:pt x="13335" y="340995"/>
                    </a:cubicBezTo>
                    <a:cubicBezTo>
                      <a:pt x="58103" y="295275"/>
                      <a:pt x="112395" y="267652"/>
                      <a:pt x="170497" y="262890"/>
                    </a:cubicBezTo>
                    <a:close/>
                  </a:path>
                </a:pathLst>
              </a:custGeom>
              <a:solidFill>
                <a:srgbClr val="3BA24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 215">
                <a:extLst>
                  <a:ext uri="{FF2B5EF4-FFF2-40B4-BE49-F238E27FC236}">
                    <a16:creationId xmlns:a16="http://schemas.microsoft.com/office/drawing/2014/main" id="{23BA41A5-9B3A-4FEE-4BE5-EB29A7282B2A}"/>
                  </a:ext>
                </a:extLst>
              </p:cNvPr>
              <p:cNvSpPr/>
              <p:nvPr/>
            </p:nvSpPr>
            <p:spPr>
              <a:xfrm>
                <a:off x="6952296" y="2413634"/>
                <a:ext cx="417195" cy="359092"/>
              </a:xfrm>
              <a:custGeom>
                <a:avLst/>
                <a:gdLst>
                  <a:gd name="connsiteX0" fmla="*/ 0 w 417195"/>
                  <a:gd name="connsiteY0" fmla="*/ 138113 h 359092"/>
                  <a:gd name="connsiteX1" fmla="*/ 18097 w 417195"/>
                  <a:gd name="connsiteY1" fmla="*/ 137160 h 359092"/>
                  <a:gd name="connsiteX2" fmla="*/ 287655 w 417195"/>
                  <a:gd name="connsiteY2" fmla="*/ 359093 h 359092"/>
                  <a:gd name="connsiteX3" fmla="*/ 417195 w 417195"/>
                  <a:gd name="connsiteY3" fmla="*/ 359093 h 359092"/>
                  <a:gd name="connsiteX4" fmla="*/ 417195 w 417195"/>
                  <a:gd name="connsiteY4" fmla="*/ 350520 h 359092"/>
                  <a:gd name="connsiteX5" fmla="*/ 184785 w 417195"/>
                  <a:gd name="connsiteY5" fmla="*/ 0 h 359092"/>
                  <a:gd name="connsiteX6" fmla="*/ 142875 w 417195"/>
                  <a:gd name="connsiteY6" fmla="*/ 5715 h 359092"/>
                  <a:gd name="connsiteX7" fmla="*/ 0 w 417195"/>
                  <a:gd name="connsiteY7" fmla="*/ 138113 h 359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195" h="359092">
                    <a:moveTo>
                      <a:pt x="0" y="138113"/>
                    </a:moveTo>
                    <a:cubicBezTo>
                      <a:pt x="5715" y="137160"/>
                      <a:pt x="11430" y="137160"/>
                      <a:pt x="18097" y="137160"/>
                    </a:cubicBezTo>
                    <a:cubicBezTo>
                      <a:pt x="131445" y="137160"/>
                      <a:pt x="230505" y="225743"/>
                      <a:pt x="287655" y="359093"/>
                    </a:cubicBezTo>
                    <a:lnTo>
                      <a:pt x="417195" y="359093"/>
                    </a:lnTo>
                    <a:cubicBezTo>
                      <a:pt x="417195" y="356235"/>
                      <a:pt x="417195" y="353378"/>
                      <a:pt x="417195" y="350520"/>
                    </a:cubicBezTo>
                    <a:cubicBezTo>
                      <a:pt x="417195" y="157163"/>
                      <a:pt x="313372" y="0"/>
                      <a:pt x="184785" y="0"/>
                    </a:cubicBezTo>
                    <a:cubicBezTo>
                      <a:pt x="170497" y="0"/>
                      <a:pt x="156210" y="1905"/>
                      <a:pt x="142875" y="5715"/>
                    </a:cubicBezTo>
                    <a:cubicBezTo>
                      <a:pt x="84772" y="22860"/>
                      <a:pt x="34290" y="70485"/>
                      <a:pt x="0" y="138113"/>
                    </a:cubicBezTo>
                    <a:close/>
                  </a:path>
                </a:pathLst>
              </a:custGeom>
              <a:solidFill>
                <a:srgbClr val="0293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 216">
                <a:extLst>
                  <a:ext uri="{FF2B5EF4-FFF2-40B4-BE49-F238E27FC236}">
                    <a16:creationId xmlns:a16="http://schemas.microsoft.com/office/drawing/2014/main" id="{95DB50E9-D970-8CB7-270A-96F5E64142C3}"/>
                  </a:ext>
                </a:extLst>
              </p:cNvPr>
              <p:cNvSpPr/>
              <p:nvPr/>
            </p:nvSpPr>
            <p:spPr>
              <a:xfrm>
                <a:off x="6699884" y="2550795"/>
                <a:ext cx="540067" cy="222885"/>
              </a:xfrm>
              <a:custGeom>
                <a:avLst/>
                <a:gdLst>
                  <a:gd name="connsiteX0" fmla="*/ 270510 w 540067"/>
                  <a:gd name="connsiteY0" fmla="*/ 0 h 222885"/>
                  <a:gd name="connsiteX1" fmla="*/ 252413 w 540067"/>
                  <a:gd name="connsiteY1" fmla="*/ 952 h 222885"/>
                  <a:gd name="connsiteX2" fmla="*/ 94297 w 540067"/>
                  <a:gd name="connsiteY2" fmla="*/ 79058 h 222885"/>
                  <a:gd name="connsiteX3" fmla="*/ 0 w 540067"/>
                  <a:gd name="connsiteY3" fmla="*/ 222885 h 222885"/>
                  <a:gd name="connsiteX4" fmla="*/ 540068 w 540067"/>
                  <a:gd name="connsiteY4" fmla="*/ 222885 h 222885"/>
                  <a:gd name="connsiteX5" fmla="*/ 270510 w 540067"/>
                  <a:gd name="connsiteY5" fmla="*/ 0 h 222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0067" h="222885">
                    <a:moveTo>
                      <a:pt x="270510" y="0"/>
                    </a:moveTo>
                    <a:cubicBezTo>
                      <a:pt x="264795" y="0"/>
                      <a:pt x="258128" y="0"/>
                      <a:pt x="252413" y="952"/>
                    </a:cubicBezTo>
                    <a:cubicBezTo>
                      <a:pt x="194310" y="5715"/>
                      <a:pt x="140970" y="34290"/>
                      <a:pt x="94297" y="79058"/>
                    </a:cubicBezTo>
                    <a:cubicBezTo>
                      <a:pt x="56197" y="116205"/>
                      <a:pt x="24765" y="164783"/>
                      <a:pt x="0" y="222885"/>
                    </a:cubicBezTo>
                    <a:lnTo>
                      <a:pt x="540068" y="222885"/>
                    </a:lnTo>
                    <a:cubicBezTo>
                      <a:pt x="482918" y="88583"/>
                      <a:pt x="383858" y="0"/>
                      <a:pt x="270510" y="0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B2927576-C79E-15D9-F1C1-DF194B25D333}"/>
                </a:ext>
              </a:extLst>
            </p:cNvPr>
            <p:cNvGrpSpPr/>
            <p:nvPr/>
          </p:nvGrpSpPr>
          <p:grpSpPr>
            <a:xfrm>
              <a:off x="8914289" y="4138612"/>
              <a:ext cx="578168" cy="567690"/>
              <a:chOff x="8879204" y="2205990"/>
              <a:chExt cx="578168" cy="567690"/>
            </a:xfrm>
          </p:grpSpPr>
          <p:grpSp>
            <p:nvGrpSpPr>
              <p:cNvPr id="28" name="组合 27">
                <a:extLst>
                  <a:ext uri="{FF2B5EF4-FFF2-40B4-BE49-F238E27FC236}">
                    <a16:creationId xmlns:a16="http://schemas.microsoft.com/office/drawing/2014/main" id="{BD5E33B3-093E-1B12-84D3-46FE2FF77C54}"/>
                  </a:ext>
                </a:extLst>
              </p:cNvPr>
              <p:cNvGrpSpPr/>
              <p:nvPr/>
            </p:nvGrpSpPr>
            <p:grpSpPr>
              <a:xfrm>
                <a:off x="8879204" y="2205990"/>
                <a:ext cx="342900" cy="567690"/>
                <a:chOff x="8879204" y="2205990"/>
                <a:chExt cx="342900" cy="567690"/>
              </a:xfrm>
            </p:grpSpPr>
            <p:sp>
              <p:nvSpPr>
                <p:cNvPr id="34" name="任意多边形 220">
                  <a:extLst>
                    <a:ext uri="{FF2B5EF4-FFF2-40B4-BE49-F238E27FC236}">
                      <a16:creationId xmlns:a16="http://schemas.microsoft.com/office/drawing/2014/main" id="{B9595805-7EC3-1A10-2501-2F9C3A2DB640}"/>
                    </a:ext>
                  </a:extLst>
                </p:cNvPr>
                <p:cNvSpPr/>
                <p:nvPr/>
              </p:nvSpPr>
              <p:spPr>
                <a:xfrm>
                  <a:off x="9023984" y="2238375"/>
                  <a:ext cx="60007" cy="535305"/>
                </a:xfrm>
                <a:custGeom>
                  <a:avLst/>
                  <a:gdLst>
                    <a:gd name="connsiteX0" fmla="*/ 60007 w 60007"/>
                    <a:gd name="connsiteY0" fmla="*/ 535305 h 535305"/>
                    <a:gd name="connsiteX1" fmla="*/ 0 w 60007"/>
                    <a:gd name="connsiteY1" fmla="*/ 535305 h 535305"/>
                    <a:gd name="connsiteX2" fmla="*/ 20955 w 60007"/>
                    <a:gd name="connsiteY2" fmla="*/ 0 h 535305"/>
                    <a:gd name="connsiteX3" fmla="*/ 39052 w 60007"/>
                    <a:gd name="connsiteY3" fmla="*/ 0 h 535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007" h="535305">
                      <a:moveTo>
                        <a:pt x="60007" y="535305"/>
                      </a:moveTo>
                      <a:lnTo>
                        <a:pt x="0" y="535305"/>
                      </a:lnTo>
                      <a:lnTo>
                        <a:pt x="20955" y="0"/>
                      </a:lnTo>
                      <a:lnTo>
                        <a:pt x="39052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35" name="组合 34">
                  <a:extLst>
                    <a:ext uri="{FF2B5EF4-FFF2-40B4-BE49-F238E27FC236}">
                      <a16:creationId xmlns:a16="http://schemas.microsoft.com/office/drawing/2014/main" id="{D316F56F-367E-52ED-CE06-997A1AC8AA04}"/>
                    </a:ext>
                  </a:extLst>
                </p:cNvPr>
                <p:cNvGrpSpPr/>
                <p:nvPr/>
              </p:nvGrpSpPr>
              <p:grpSpPr>
                <a:xfrm>
                  <a:off x="8879204" y="2205990"/>
                  <a:ext cx="342900" cy="567690"/>
                  <a:chOff x="8879204" y="2205990"/>
                  <a:chExt cx="342900" cy="567690"/>
                </a:xfrm>
              </p:grpSpPr>
              <p:sp>
                <p:nvSpPr>
                  <p:cNvPr id="36" name="任意多边形 222">
                    <a:extLst>
                      <a:ext uri="{FF2B5EF4-FFF2-40B4-BE49-F238E27FC236}">
                        <a16:creationId xmlns:a16="http://schemas.microsoft.com/office/drawing/2014/main" id="{7FA613C3-662C-FC6D-95F6-BDD0F5690753}"/>
                      </a:ext>
                    </a:extLst>
                  </p:cNvPr>
                  <p:cNvSpPr/>
                  <p:nvPr/>
                </p:nvSpPr>
                <p:spPr>
                  <a:xfrm>
                    <a:off x="8879204" y="2546984"/>
                    <a:ext cx="342900" cy="226695"/>
                  </a:xfrm>
                  <a:custGeom>
                    <a:avLst/>
                    <a:gdLst>
                      <a:gd name="connsiteX0" fmla="*/ 170497 w 342900"/>
                      <a:gd name="connsiteY0" fmla="*/ 0 h 226695"/>
                      <a:gd name="connsiteX1" fmla="*/ 0 w 342900"/>
                      <a:gd name="connsiteY1" fmla="*/ 226695 h 226695"/>
                      <a:gd name="connsiteX2" fmla="*/ 171450 w 342900"/>
                      <a:gd name="connsiteY2" fmla="*/ 226695 h 226695"/>
                      <a:gd name="connsiteX3" fmla="*/ 342900 w 342900"/>
                      <a:gd name="connsiteY3" fmla="*/ 226695 h 2266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42900" h="226695">
                        <a:moveTo>
                          <a:pt x="170497" y="0"/>
                        </a:moveTo>
                        <a:lnTo>
                          <a:pt x="0" y="226695"/>
                        </a:lnTo>
                        <a:lnTo>
                          <a:pt x="171450" y="226695"/>
                        </a:lnTo>
                        <a:lnTo>
                          <a:pt x="342900" y="226695"/>
                        </a:lnTo>
                        <a:close/>
                      </a:path>
                    </a:pathLst>
                  </a:custGeom>
                  <a:solidFill>
                    <a:srgbClr val="006738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7" name="任意多边形 223">
                    <a:extLst>
                      <a:ext uri="{FF2B5EF4-FFF2-40B4-BE49-F238E27FC236}">
                        <a16:creationId xmlns:a16="http://schemas.microsoft.com/office/drawing/2014/main" id="{2A2E2D1F-ABD0-8E83-23A7-B9188589FB79}"/>
                      </a:ext>
                    </a:extLst>
                  </p:cNvPr>
                  <p:cNvSpPr/>
                  <p:nvPr/>
                </p:nvSpPr>
                <p:spPr>
                  <a:xfrm>
                    <a:off x="8893492" y="2415540"/>
                    <a:ext cx="313372" cy="191452"/>
                  </a:xfrm>
                  <a:custGeom>
                    <a:avLst/>
                    <a:gdLst>
                      <a:gd name="connsiteX0" fmla="*/ 155257 w 313372"/>
                      <a:gd name="connsiteY0" fmla="*/ 0 h 191452"/>
                      <a:gd name="connsiteX1" fmla="*/ 0 w 313372"/>
                      <a:gd name="connsiteY1" fmla="*/ 191452 h 191452"/>
                      <a:gd name="connsiteX2" fmla="*/ 156210 w 313372"/>
                      <a:gd name="connsiteY2" fmla="*/ 191452 h 191452"/>
                      <a:gd name="connsiteX3" fmla="*/ 313372 w 313372"/>
                      <a:gd name="connsiteY3" fmla="*/ 191452 h 1914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13372" h="191452">
                        <a:moveTo>
                          <a:pt x="155257" y="0"/>
                        </a:moveTo>
                        <a:lnTo>
                          <a:pt x="0" y="191452"/>
                        </a:lnTo>
                        <a:lnTo>
                          <a:pt x="156210" y="191452"/>
                        </a:lnTo>
                        <a:lnTo>
                          <a:pt x="313372" y="191452"/>
                        </a:lnTo>
                        <a:close/>
                      </a:path>
                    </a:pathLst>
                  </a:custGeom>
                  <a:solidFill>
                    <a:srgbClr val="029344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8" name="任意多边形 224">
                    <a:extLst>
                      <a:ext uri="{FF2B5EF4-FFF2-40B4-BE49-F238E27FC236}">
                        <a16:creationId xmlns:a16="http://schemas.microsoft.com/office/drawing/2014/main" id="{86E5CAD6-D7EC-602E-A5AD-C7BB14D710F3}"/>
                      </a:ext>
                    </a:extLst>
                  </p:cNvPr>
                  <p:cNvSpPr/>
                  <p:nvPr/>
                </p:nvSpPr>
                <p:spPr>
                  <a:xfrm>
                    <a:off x="8904922" y="2303145"/>
                    <a:ext cx="288607" cy="163829"/>
                  </a:xfrm>
                  <a:custGeom>
                    <a:avLst/>
                    <a:gdLst>
                      <a:gd name="connsiteX0" fmla="*/ 143827 w 288607"/>
                      <a:gd name="connsiteY0" fmla="*/ 0 h 163829"/>
                      <a:gd name="connsiteX1" fmla="*/ 0 w 288607"/>
                      <a:gd name="connsiteY1" fmla="*/ 163830 h 163829"/>
                      <a:gd name="connsiteX2" fmla="*/ 144780 w 288607"/>
                      <a:gd name="connsiteY2" fmla="*/ 163830 h 163829"/>
                      <a:gd name="connsiteX3" fmla="*/ 288607 w 288607"/>
                      <a:gd name="connsiteY3" fmla="*/ 163830 h 1638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88607" h="163829">
                        <a:moveTo>
                          <a:pt x="143827" y="0"/>
                        </a:moveTo>
                        <a:lnTo>
                          <a:pt x="0" y="163830"/>
                        </a:lnTo>
                        <a:lnTo>
                          <a:pt x="144780" y="163830"/>
                        </a:lnTo>
                        <a:lnTo>
                          <a:pt x="288607" y="163830"/>
                        </a:lnTo>
                        <a:close/>
                      </a:path>
                    </a:pathLst>
                  </a:custGeom>
                  <a:solidFill>
                    <a:srgbClr val="6EB13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9" name="任意多边形 225">
                    <a:extLst>
                      <a:ext uri="{FF2B5EF4-FFF2-40B4-BE49-F238E27FC236}">
                        <a16:creationId xmlns:a16="http://schemas.microsoft.com/office/drawing/2014/main" id="{929E4F0E-6329-6865-1286-E411D3F6B75F}"/>
                      </a:ext>
                    </a:extLst>
                  </p:cNvPr>
                  <p:cNvSpPr/>
                  <p:nvPr/>
                </p:nvSpPr>
                <p:spPr>
                  <a:xfrm>
                    <a:off x="8915399" y="2205990"/>
                    <a:ext cx="266700" cy="140969"/>
                  </a:xfrm>
                  <a:custGeom>
                    <a:avLst/>
                    <a:gdLst>
                      <a:gd name="connsiteX0" fmla="*/ 132398 w 266700"/>
                      <a:gd name="connsiteY0" fmla="*/ 0 h 140969"/>
                      <a:gd name="connsiteX1" fmla="*/ 0 w 266700"/>
                      <a:gd name="connsiteY1" fmla="*/ 140970 h 140969"/>
                      <a:gd name="connsiteX2" fmla="*/ 133350 w 266700"/>
                      <a:gd name="connsiteY2" fmla="*/ 140970 h 140969"/>
                      <a:gd name="connsiteX3" fmla="*/ 266700 w 266700"/>
                      <a:gd name="connsiteY3" fmla="*/ 140970 h 1409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66700" h="140969">
                        <a:moveTo>
                          <a:pt x="132398" y="0"/>
                        </a:moveTo>
                        <a:lnTo>
                          <a:pt x="0" y="140970"/>
                        </a:lnTo>
                        <a:lnTo>
                          <a:pt x="133350" y="140970"/>
                        </a:lnTo>
                        <a:lnTo>
                          <a:pt x="266700" y="140970"/>
                        </a:lnTo>
                        <a:close/>
                      </a:path>
                    </a:pathLst>
                  </a:custGeom>
                  <a:solidFill>
                    <a:srgbClr val="92C33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29" name="组合 28">
                <a:extLst>
                  <a:ext uri="{FF2B5EF4-FFF2-40B4-BE49-F238E27FC236}">
                    <a16:creationId xmlns:a16="http://schemas.microsoft.com/office/drawing/2014/main" id="{8384E95C-64F4-B6CB-8E10-A984E5FFE330}"/>
                  </a:ext>
                </a:extLst>
              </p:cNvPr>
              <p:cNvGrpSpPr/>
              <p:nvPr/>
            </p:nvGrpSpPr>
            <p:grpSpPr>
              <a:xfrm>
                <a:off x="9019222" y="2615565"/>
                <a:ext cx="438150" cy="158115"/>
                <a:chOff x="9019222" y="2615565"/>
                <a:chExt cx="438150" cy="158115"/>
              </a:xfrm>
            </p:grpSpPr>
            <p:sp>
              <p:nvSpPr>
                <p:cNvPr id="30" name="任意多边形 228">
                  <a:extLst>
                    <a:ext uri="{FF2B5EF4-FFF2-40B4-BE49-F238E27FC236}">
                      <a16:creationId xmlns:a16="http://schemas.microsoft.com/office/drawing/2014/main" id="{9C65B786-81B0-C01D-17CF-133EA2D82661}"/>
                    </a:ext>
                  </a:extLst>
                </p:cNvPr>
                <p:cNvSpPr/>
                <p:nvPr/>
              </p:nvSpPr>
              <p:spPr>
                <a:xfrm>
                  <a:off x="9088754" y="2615565"/>
                  <a:ext cx="317182" cy="158115"/>
                </a:xfrm>
                <a:custGeom>
                  <a:avLst/>
                  <a:gdLst>
                    <a:gd name="connsiteX0" fmla="*/ 158115 w 317182"/>
                    <a:gd name="connsiteY0" fmla="*/ 0 h 158115"/>
                    <a:gd name="connsiteX1" fmla="*/ 0 w 317182"/>
                    <a:gd name="connsiteY1" fmla="*/ 158115 h 158115"/>
                    <a:gd name="connsiteX2" fmla="*/ 317182 w 317182"/>
                    <a:gd name="connsiteY2" fmla="*/ 158115 h 158115"/>
                    <a:gd name="connsiteX3" fmla="*/ 158115 w 317182"/>
                    <a:gd name="connsiteY3" fmla="*/ 0 h 1581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7182" h="158115">
                      <a:moveTo>
                        <a:pt x="158115" y="0"/>
                      </a:moveTo>
                      <a:cubicBezTo>
                        <a:pt x="70485" y="0"/>
                        <a:pt x="0" y="70485"/>
                        <a:pt x="0" y="158115"/>
                      </a:cubicBezTo>
                      <a:lnTo>
                        <a:pt x="317182" y="158115"/>
                      </a:lnTo>
                      <a:cubicBezTo>
                        <a:pt x="317182" y="70485"/>
                        <a:pt x="245745" y="0"/>
                        <a:pt x="158115" y="0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1" name="任意多边形 229">
                  <a:extLst>
                    <a:ext uri="{FF2B5EF4-FFF2-40B4-BE49-F238E27FC236}">
                      <a16:creationId xmlns:a16="http://schemas.microsoft.com/office/drawing/2014/main" id="{D45EE1E4-C6BC-1911-8BBE-38831CDF6367}"/>
                    </a:ext>
                  </a:extLst>
                </p:cNvPr>
                <p:cNvSpPr/>
                <p:nvPr/>
              </p:nvSpPr>
              <p:spPr>
                <a:xfrm>
                  <a:off x="9019222" y="2677477"/>
                  <a:ext cx="190500" cy="95250"/>
                </a:xfrm>
                <a:custGeom>
                  <a:avLst/>
                  <a:gdLst>
                    <a:gd name="connsiteX0" fmla="*/ 95250 w 190500"/>
                    <a:gd name="connsiteY0" fmla="*/ 0 h 95250"/>
                    <a:gd name="connsiteX1" fmla="*/ 0 w 190500"/>
                    <a:gd name="connsiteY1" fmla="*/ 95250 h 95250"/>
                    <a:gd name="connsiteX2" fmla="*/ 190500 w 190500"/>
                    <a:gd name="connsiteY2" fmla="*/ 95250 h 95250"/>
                    <a:gd name="connsiteX3" fmla="*/ 95250 w 190500"/>
                    <a:gd name="connsiteY3" fmla="*/ 0 h 95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0500" h="95250">
                      <a:moveTo>
                        <a:pt x="95250" y="0"/>
                      </a:moveTo>
                      <a:cubicBezTo>
                        <a:pt x="42863" y="0"/>
                        <a:pt x="0" y="42863"/>
                        <a:pt x="0" y="95250"/>
                      </a:cubicBezTo>
                      <a:lnTo>
                        <a:pt x="190500" y="95250"/>
                      </a:lnTo>
                      <a:cubicBezTo>
                        <a:pt x="190500" y="42863"/>
                        <a:pt x="148590" y="0"/>
                        <a:pt x="95250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2" name="任意多边形 230">
                  <a:extLst>
                    <a:ext uri="{FF2B5EF4-FFF2-40B4-BE49-F238E27FC236}">
                      <a16:creationId xmlns:a16="http://schemas.microsoft.com/office/drawing/2014/main" id="{6C500A81-6349-3F37-785F-9F046C9DDEF7}"/>
                    </a:ext>
                  </a:extLst>
                </p:cNvPr>
                <p:cNvSpPr/>
                <p:nvPr/>
              </p:nvSpPr>
              <p:spPr>
                <a:xfrm>
                  <a:off x="9139237" y="2706052"/>
                  <a:ext cx="134324" cy="67627"/>
                </a:xfrm>
                <a:custGeom>
                  <a:avLst/>
                  <a:gdLst>
                    <a:gd name="connsiteX0" fmla="*/ 67627 w 134324"/>
                    <a:gd name="connsiteY0" fmla="*/ 0 h 67627"/>
                    <a:gd name="connsiteX1" fmla="*/ 0 w 134324"/>
                    <a:gd name="connsiteY1" fmla="*/ 67628 h 67627"/>
                    <a:gd name="connsiteX2" fmla="*/ 134302 w 134324"/>
                    <a:gd name="connsiteY2" fmla="*/ 67628 h 67627"/>
                    <a:gd name="connsiteX3" fmla="*/ 67627 w 134324"/>
                    <a:gd name="connsiteY3" fmla="*/ 0 h 67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4324" h="67627">
                      <a:moveTo>
                        <a:pt x="67627" y="0"/>
                      </a:moveTo>
                      <a:cubicBezTo>
                        <a:pt x="30480" y="0"/>
                        <a:pt x="0" y="30480"/>
                        <a:pt x="0" y="67628"/>
                      </a:cubicBezTo>
                      <a:lnTo>
                        <a:pt x="134302" y="67628"/>
                      </a:lnTo>
                      <a:cubicBezTo>
                        <a:pt x="135255" y="30480"/>
                        <a:pt x="104775" y="0"/>
                        <a:pt x="67627" y="0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3" name="任意多边形 231">
                  <a:extLst>
                    <a:ext uri="{FF2B5EF4-FFF2-40B4-BE49-F238E27FC236}">
                      <a16:creationId xmlns:a16="http://schemas.microsoft.com/office/drawing/2014/main" id="{36E87A51-9594-9719-AE73-F8D687BA5AB3}"/>
                    </a:ext>
                  </a:extLst>
                </p:cNvPr>
                <p:cNvSpPr/>
                <p:nvPr/>
              </p:nvSpPr>
              <p:spPr>
                <a:xfrm>
                  <a:off x="9332594" y="2710815"/>
                  <a:ext cx="124777" cy="62865"/>
                </a:xfrm>
                <a:custGeom>
                  <a:avLst/>
                  <a:gdLst>
                    <a:gd name="connsiteX0" fmla="*/ 62865 w 124777"/>
                    <a:gd name="connsiteY0" fmla="*/ 0 h 62865"/>
                    <a:gd name="connsiteX1" fmla="*/ 0 w 124777"/>
                    <a:gd name="connsiteY1" fmla="*/ 62865 h 62865"/>
                    <a:gd name="connsiteX2" fmla="*/ 124778 w 124777"/>
                    <a:gd name="connsiteY2" fmla="*/ 62865 h 62865"/>
                    <a:gd name="connsiteX3" fmla="*/ 62865 w 124777"/>
                    <a:gd name="connsiteY3" fmla="*/ 0 h 62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4777" h="62865">
                      <a:moveTo>
                        <a:pt x="62865" y="0"/>
                      </a:moveTo>
                      <a:cubicBezTo>
                        <a:pt x="28575" y="0"/>
                        <a:pt x="0" y="27622"/>
                        <a:pt x="0" y="62865"/>
                      </a:cubicBezTo>
                      <a:lnTo>
                        <a:pt x="124778" y="62865"/>
                      </a:lnTo>
                      <a:cubicBezTo>
                        <a:pt x="124778" y="27622"/>
                        <a:pt x="97155" y="0"/>
                        <a:pt x="62865" y="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E5E2B812-7619-37AF-79D1-7285E1376834}"/>
                </a:ext>
              </a:extLst>
            </p:cNvPr>
            <p:cNvGrpSpPr/>
            <p:nvPr/>
          </p:nvGrpSpPr>
          <p:grpSpPr>
            <a:xfrm>
              <a:off x="2772569" y="4065269"/>
              <a:ext cx="704850" cy="641032"/>
              <a:chOff x="2737484" y="2132647"/>
              <a:chExt cx="704850" cy="641032"/>
            </a:xfrm>
          </p:grpSpPr>
          <p:sp>
            <p:nvSpPr>
              <p:cNvPr id="15" name="任意多边形 233">
                <a:extLst>
                  <a:ext uri="{FF2B5EF4-FFF2-40B4-BE49-F238E27FC236}">
                    <a16:creationId xmlns:a16="http://schemas.microsoft.com/office/drawing/2014/main" id="{2AEFBDD8-2A22-80AD-DACF-47ACC4AF8329}"/>
                  </a:ext>
                </a:extLst>
              </p:cNvPr>
              <p:cNvSpPr/>
              <p:nvPr/>
            </p:nvSpPr>
            <p:spPr>
              <a:xfrm>
                <a:off x="2987992" y="2646045"/>
                <a:ext cx="340058" cy="127635"/>
              </a:xfrm>
              <a:custGeom>
                <a:avLst/>
                <a:gdLst>
                  <a:gd name="connsiteX0" fmla="*/ 250508 w 340058"/>
                  <a:gd name="connsiteY0" fmla="*/ 37148 h 127635"/>
                  <a:gd name="connsiteX1" fmla="*/ 221933 w 340058"/>
                  <a:gd name="connsiteY1" fmla="*/ 41910 h 127635"/>
                  <a:gd name="connsiteX2" fmla="*/ 127635 w 340058"/>
                  <a:gd name="connsiteY2" fmla="*/ 0 h 127635"/>
                  <a:gd name="connsiteX3" fmla="*/ 0 w 340058"/>
                  <a:gd name="connsiteY3" fmla="*/ 127635 h 127635"/>
                  <a:gd name="connsiteX4" fmla="*/ 160020 w 340058"/>
                  <a:gd name="connsiteY4" fmla="*/ 127635 h 127635"/>
                  <a:gd name="connsiteX5" fmla="*/ 254318 w 340058"/>
                  <a:gd name="connsiteY5" fmla="*/ 127635 h 127635"/>
                  <a:gd name="connsiteX6" fmla="*/ 340043 w 340058"/>
                  <a:gd name="connsiteY6" fmla="*/ 127635 h 127635"/>
                  <a:gd name="connsiteX7" fmla="*/ 250508 w 340058"/>
                  <a:gd name="connsiteY7" fmla="*/ 37148 h 127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0058" h="127635">
                    <a:moveTo>
                      <a:pt x="250508" y="37148"/>
                    </a:moveTo>
                    <a:cubicBezTo>
                      <a:pt x="240030" y="37148"/>
                      <a:pt x="230505" y="39052"/>
                      <a:pt x="221933" y="41910"/>
                    </a:cubicBezTo>
                    <a:cubicBezTo>
                      <a:pt x="198120" y="16192"/>
                      <a:pt x="164783" y="0"/>
                      <a:pt x="127635" y="0"/>
                    </a:cubicBezTo>
                    <a:cubicBezTo>
                      <a:pt x="57150" y="0"/>
                      <a:pt x="0" y="57150"/>
                      <a:pt x="0" y="127635"/>
                    </a:cubicBezTo>
                    <a:lnTo>
                      <a:pt x="160020" y="127635"/>
                    </a:lnTo>
                    <a:lnTo>
                      <a:pt x="254318" y="127635"/>
                    </a:lnTo>
                    <a:lnTo>
                      <a:pt x="340043" y="127635"/>
                    </a:lnTo>
                    <a:cubicBezTo>
                      <a:pt x="340995" y="77152"/>
                      <a:pt x="300038" y="37148"/>
                      <a:pt x="250508" y="37148"/>
                    </a:cubicBezTo>
                    <a:close/>
                  </a:path>
                </a:pathLst>
              </a:custGeom>
              <a:solidFill>
                <a:srgbClr val="0067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6" name="组合 15">
                <a:extLst>
                  <a:ext uri="{FF2B5EF4-FFF2-40B4-BE49-F238E27FC236}">
                    <a16:creationId xmlns:a16="http://schemas.microsoft.com/office/drawing/2014/main" id="{1BF61F80-8A36-21B3-E643-C2004BBBABC8}"/>
                  </a:ext>
                </a:extLst>
              </p:cNvPr>
              <p:cNvGrpSpPr/>
              <p:nvPr/>
            </p:nvGrpSpPr>
            <p:grpSpPr>
              <a:xfrm>
                <a:off x="2737484" y="2132647"/>
                <a:ext cx="704850" cy="640080"/>
                <a:chOff x="2737484" y="2132647"/>
                <a:chExt cx="704850" cy="640080"/>
              </a:xfrm>
            </p:grpSpPr>
            <p:sp>
              <p:nvSpPr>
                <p:cNvPr id="18" name="任意多边形 235">
                  <a:extLst>
                    <a:ext uri="{FF2B5EF4-FFF2-40B4-BE49-F238E27FC236}">
                      <a16:creationId xmlns:a16="http://schemas.microsoft.com/office/drawing/2014/main" id="{0DC3BED3-1C96-CD1A-2101-8802DD24526A}"/>
                    </a:ext>
                  </a:extLst>
                </p:cNvPr>
                <p:cNvSpPr/>
                <p:nvPr/>
              </p:nvSpPr>
              <p:spPr>
                <a:xfrm>
                  <a:off x="3063239" y="2425065"/>
                  <a:ext cx="49530" cy="347662"/>
                </a:xfrm>
                <a:custGeom>
                  <a:avLst/>
                  <a:gdLst>
                    <a:gd name="connsiteX0" fmla="*/ 0 w 49530"/>
                    <a:gd name="connsiteY0" fmla="*/ 347663 h 347662"/>
                    <a:gd name="connsiteX1" fmla="*/ 49530 w 49530"/>
                    <a:gd name="connsiteY1" fmla="*/ 347663 h 347662"/>
                    <a:gd name="connsiteX2" fmla="*/ 43815 w 49530"/>
                    <a:gd name="connsiteY2" fmla="*/ 0 h 347662"/>
                    <a:gd name="connsiteX3" fmla="*/ 8573 w 49530"/>
                    <a:gd name="connsiteY3" fmla="*/ 0 h 347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9530" h="347662">
                      <a:moveTo>
                        <a:pt x="0" y="347663"/>
                      </a:moveTo>
                      <a:lnTo>
                        <a:pt x="49530" y="347663"/>
                      </a:lnTo>
                      <a:lnTo>
                        <a:pt x="43815" y="0"/>
                      </a:lnTo>
                      <a:lnTo>
                        <a:pt x="8573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" name="任意多边形 236">
                  <a:extLst>
                    <a:ext uri="{FF2B5EF4-FFF2-40B4-BE49-F238E27FC236}">
                      <a16:creationId xmlns:a16="http://schemas.microsoft.com/office/drawing/2014/main" id="{8628C098-A99E-FAA5-9416-2B51A945DC60}"/>
                    </a:ext>
                  </a:extLst>
                </p:cNvPr>
                <p:cNvSpPr/>
                <p:nvPr/>
              </p:nvSpPr>
              <p:spPr>
                <a:xfrm>
                  <a:off x="3097529" y="2373629"/>
                  <a:ext cx="150866" cy="200025"/>
                </a:xfrm>
                <a:custGeom>
                  <a:avLst/>
                  <a:gdLst>
                    <a:gd name="connsiteX0" fmla="*/ 952 w 150866"/>
                    <a:gd name="connsiteY0" fmla="*/ 158115 h 200025"/>
                    <a:gd name="connsiteX1" fmla="*/ 110490 w 150866"/>
                    <a:gd name="connsiteY1" fmla="*/ 0 h 200025"/>
                    <a:gd name="connsiteX2" fmla="*/ 149543 w 150866"/>
                    <a:gd name="connsiteY2" fmla="*/ 6667 h 200025"/>
                    <a:gd name="connsiteX3" fmla="*/ 0 w 150866"/>
                    <a:gd name="connsiteY3" fmla="*/ 200025 h 200025"/>
                    <a:gd name="connsiteX4" fmla="*/ 952 w 150866"/>
                    <a:gd name="connsiteY4" fmla="*/ 158115 h 200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0866" h="200025">
                      <a:moveTo>
                        <a:pt x="952" y="158115"/>
                      </a:moveTo>
                      <a:cubicBezTo>
                        <a:pt x="952" y="158115"/>
                        <a:pt x="152400" y="141923"/>
                        <a:pt x="110490" y="0"/>
                      </a:cubicBezTo>
                      <a:lnTo>
                        <a:pt x="149543" y="6667"/>
                      </a:lnTo>
                      <a:cubicBezTo>
                        <a:pt x="149543" y="6667"/>
                        <a:pt x="175260" y="144780"/>
                        <a:pt x="0" y="200025"/>
                      </a:cubicBezTo>
                      <a:lnTo>
                        <a:pt x="952" y="158115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" name="任意多边形 237">
                  <a:extLst>
                    <a:ext uri="{FF2B5EF4-FFF2-40B4-BE49-F238E27FC236}">
                      <a16:creationId xmlns:a16="http://schemas.microsoft.com/office/drawing/2014/main" id="{90972145-609A-815A-448C-CB077C21E62F}"/>
                    </a:ext>
                  </a:extLst>
                </p:cNvPr>
                <p:cNvSpPr/>
                <p:nvPr/>
              </p:nvSpPr>
              <p:spPr>
                <a:xfrm>
                  <a:off x="2968935" y="2326957"/>
                  <a:ext cx="120973" cy="156209"/>
                </a:xfrm>
                <a:custGeom>
                  <a:avLst/>
                  <a:gdLst>
                    <a:gd name="connsiteX0" fmla="*/ 30486 w 120973"/>
                    <a:gd name="connsiteY0" fmla="*/ 10477 h 156209"/>
                    <a:gd name="connsiteX1" fmla="*/ 120974 w 120973"/>
                    <a:gd name="connsiteY1" fmla="*/ 128588 h 156209"/>
                    <a:gd name="connsiteX2" fmla="*/ 106686 w 120973"/>
                    <a:gd name="connsiteY2" fmla="*/ 156210 h 156209"/>
                    <a:gd name="connsiteX3" fmla="*/ 6 w 120973"/>
                    <a:gd name="connsiteY3" fmla="*/ 0 h 156209"/>
                    <a:gd name="connsiteX4" fmla="*/ 30486 w 120973"/>
                    <a:gd name="connsiteY4" fmla="*/ 10477 h 156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0973" h="156209">
                      <a:moveTo>
                        <a:pt x="30486" y="10477"/>
                      </a:moveTo>
                      <a:cubicBezTo>
                        <a:pt x="30486" y="10477"/>
                        <a:pt x="5721" y="125730"/>
                        <a:pt x="120974" y="128588"/>
                      </a:cubicBezTo>
                      <a:lnTo>
                        <a:pt x="106686" y="156210"/>
                      </a:lnTo>
                      <a:cubicBezTo>
                        <a:pt x="106686" y="156210"/>
                        <a:pt x="-946" y="141922"/>
                        <a:pt x="6" y="0"/>
                      </a:cubicBezTo>
                      <a:lnTo>
                        <a:pt x="30486" y="10477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" name="任意多边形 238">
                  <a:extLst>
                    <a:ext uri="{FF2B5EF4-FFF2-40B4-BE49-F238E27FC236}">
                      <a16:creationId xmlns:a16="http://schemas.microsoft.com/office/drawing/2014/main" id="{2B458856-4A06-4886-E661-89A3261FBE3E}"/>
                    </a:ext>
                  </a:extLst>
                </p:cNvPr>
                <p:cNvSpPr/>
                <p:nvPr/>
              </p:nvSpPr>
              <p:spPr>
                <a:xfrm>
                  <a:off x="2832734" y="2346959"/>
                  <a:ext cx="167640" cy="97818"/>
                </a:xfrm>
                <a:custGeom>
                  <a:avLst/>
                  <a:gdLst>
                    <a:gd name="connsiteX0" fmla="*/ 32385 w 167640"/>
                    <a:gd name="connsiteY0" fmla="*/ 0 h 97818"/>
                    <a:gd name="connsiteX1" fmla="*/ 167640 w 167640"/>
                    <a:gd name="connsiteY1" fmla="*/ 61913 h 97818"/>
                    <a:gd name="connsiteX2" fmla="*/ 167640 w 167640"/>
                    <a:gd name="connsiteY2" fmla="*/ 92393 h 97818"/>
                    <a:gd name="connsiteX3" fmla="*/ 0 w 167640"/>
                    <a:gd name="connsiteY3" fmla="*/ 4763 h 97818"/>
                    <a:gd name="connsiteX4" fmla="*/ 32385 w 167640"/>
                    <a:gd name="connsiteY4" fmla="*/ 0 h 97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97818">
                      <a:moveTo>
                        <a:pt x="32385" y="0"/>
                      </a:moveTo>
                      <a:cubicBezTo>
                        <a:pt x="32385" y="0"/>
                        <a:pt x="64770" y="112395"/>
                        <a:pt x="167640" y="61913"/>
                      </a:cubicBezTo>
                      <a:lnTo>
                        <a:pt x="167640" y="92393"/>
                      </a:lnTo>
                      <a:cubicBezTo>
                        <a:pt x="167640" y="92393"/>
                        <a:pt x="65723" y="130493"/>
                        <a:pt x="0" y="4763"/>
                      </a:cubicBezTo>
                      <a:lnTo>
                        <a:pt x="32385" y="0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" name="任意多边形 239">
                  <a:extLst>
                    <a:ext uri="{FF2B5EF4-FFF2-40B4-BE49-F238E27FC236}">
                      <a16:creationId xmlns:a16="http://schemas.microsoft.com/office/drawing/2014/main" id="{EFA5414F-3A8D-D51A-5A7C-C091C479DFC4}"/>
                    </a:ext>
                  </a:extLst>
                </p:cNvPr>
                <p:cNvSpPr/>
                <p:nvPr/>
              </p:nvSpPr>
              <p:spPr>
                <a:xfrm>
                  <a:off x="3191826" y="2437447"/>
                  <a:ext cx="179070" cy="91847"/>
                </a:xfrm>
                <a:custGeom>
                  <a:avLst/>
                  <a:gdLst>
                    <a:gd name="connsiteX0" fmla="*/ 18098 w 179070"/>
                    <a:gd name="connsiteY0" fmla="*/ 56198 h 91847"/>
                    <a:gd name="connsiteX1" fmla="*/ 156210 w 179070"/>
                    <a:gd name="connsiteY1" fmla="*/ 0 h 91847"/>
                    <a:gd name="connsiteX2" fmla="*/ 179070 w 179070"/>
                    <a:gd name="connsiteY2" fmla="*/ 20955 h 91847"/>
                    <a:gd name="connsiteX3" fmla="*/ 0 w 179070"/>
                    <a:gd name="connsiteY3" fmla="*/ 82868 h 91847"/>
                    <a:gd name="connsiteX4" fmla="*/ 18098 w 179070"/>
                    <a:gd name="connsiteY4" fmla="*/ 56198 h 91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9070" h="91847">
                      <a:moveTo>
                        <a:pt x="18098" y="56198"/>
                      </a:moveTo>
                      <a:cubicBezTo>
                        <a:pt x="18098" y="56198"/>
                        <a:pt x="122873" y="109538"/>
                        <a:pt x="156210" y="0"/>
                      </a:cubicBezTo>
                      <a:lnTo>
                        <a:pt x="179070" y="20955"/>
                      </a:lnTo>
                      <a:cubicBezTo>
                        <a:pt x="179070" y="20955"/>
                        <a:pt x="137160" y="121920"/>
                        <a:pt x="0" y="82868"/>
                      </a:cubicBezTo>
                      <a:lnTo>
                        <a:pt x="18098" y="56198"/>
                      </a:lnTo>
                      <a:close/>
                    </a:path>
                  </a:pathLst>
                </a:custGeom>
                <a:solidFill>
                  <a:srgbClr val="60322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" name="任意多边形 240">
                  <a:extLst>
                    <a:ext uri="{FF2B5EF4-FFF2-40B4-BE49-F238E27FC236}">
                      <a16:creationId xmlns:a16="http://schemas.microsoft.com/office/drawing/2014/main" id="{B8A32BF2-7D7D-0E09-705A-80A1C70C85B4}"/>
                    </a:ext>
                  </a:extLst>
                </p:cNvPr>
                <p:cNvSpPr/>
                <p:nvPr/>
              </p:nvSpPr>
              <p:spPr>
                <a:xfrm>
                  <a:off x="2895599" y="2154554"/>
                  <a:ext cx="180975" cy="215265"/>
                </a:xfrm>
                <a:custGeom>
                  <a:avLst/>
                  <a:gdLst>
                    <a:gd name="connsiteX0" fmla="*/ 180975 w 180975"/>
                    <a:gd name="connsiteY0" fmla="*/ 119063 h 215265"/>
                    <a:gd name="connsiteX1" fmla="*/ 90488 w 180975"/>
                    <a:gd name="connsiteY1" fmla="*/ 215265 h 215265"/>
                    <a:gd name="connsiteX2" fmla="*/ 0 w 180975"/>
                    <a:gd name="connsiteY2" fmla="*/ 119063 h 215265"/>
                    <a:gd name="connsiteX3" fmla="*/ 90488 w 180975"/>
                    <a:gd name="connsiteY3" fmla="*/ 0 h 215265"/>
                    <a:gd name="connsiteX4" fmla="*/ 180975 w 180975"/>
                    <a:gd name="connsiteY4" fmla="*/ 119063 h 215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975" h="215265">
                      <a:moveTo>
                        <a:pt x="180975" y="119063"/>
                      </a:moveTo>
                      <a:cubicBezTo>
                        <a:pt x="180975" y="184785"/>
                        <a:pt x="140970" y="215265"/>
                        <a:pt x="90488" y="215265"/>
                      </a:cubicBezTo>
                      <a:cubicBezTo>
                        <a:pt x="40957" y="215265"/>
                        <a:pt x="0" y="184785"/>
                        <a:pt x="0" y="119063"/>
                      </a:cubicBezTo>
                      <a:cubicBezTo>
                        <a:pt x="0" y="53340"/>
                        <a:pt x="40005" y="0"/>
                        <a:pt x="90488" y="0"/>
                      </a:cubicBezTo>
                      <a:cubicBezTo>
                        <a:pt x="140018" y="0"/>
                        <a:pt x="180975" y="53340"/>
                        <a:pt x="180975" y="11906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" name="任意多边形 241">
                  <a:extLst>
                    <a:ext uri="{FF2B5EF4-FFF2-40B4-BE49-F238E27FC236}">
                      <a16:creationId xmlns:a16="http://schemas.microsoft.com/office/drawing/2014/main" id="{C231C7FB-A016-0C6A-7A05-8E3BD507B5FB}"/>
                    </a:ext>
                  </a:extLst>
                </p:cNvPr>
                <p:cNvSpPr/>
                <p:nvPr/>
              </p:nvSpPr>
              <p:spPr>
                <a:xfrm>
                  <a:off x="2737484" y="2132647"/>
                  <a:ext cx="217170" cy="259080"/>
                </a:xfrm>
                <a:custGeom>
                  <a:avLst/>
                  <a:gdLst>
                    <a:gd name="connsiteX0" fmla="*/ 217170 w 217170"/>
                    <a:gd name="connsiteY0" fmla="*/ 142875 h 259080"/>
                    <a:gd name="connsiteX1" fmla="*/ 108585 w 217170"/>
                    <a:gd name="connsiteY1" fmla="*/ 259080 h 259080"/>
                    <a:gd name="connsiteX2" fmla="*/ 0 w 217170"/>
                    <a:gd name="connsiteY2" fmla="*/ 142875 h 259080"/>
                    <a:gd name="connsiteX3" fmla="*/ 108585 w 217170"/>
                    <a:gd name="connsiteY3" fmla="*/ 0 h 259080"/>
                    <a:gd name="connsiteX4" fmla="*/ 217170 w 217170"/>
                    <a:gd name="connsiteY4" fmla="*/ 142875 h 259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70" h="259080">
                      <a:moveTo>
                        <a:pt x="217170" y="142875"/>
                      </a:moveTo>
                      <a:cubicBezTo>
                        <a:pt x="217170" y="221933"/>
                        <a:pt x="168593" y="259080"/>
                        <a:pt x="108585" y="259080"/>
                      </a:cubicBezTo>
                      <a:cubicBezTo>
                        <a:pt x="48578" y="259080"/>
                        <a:pt x="0" y="222885"/>
                        <a:pt x="0" y="142875"/>
                      </a:cubicBezTo>
                      <a:cubicBezTo>
                        <a:pt x="0" y="63818"/>
                        <a:pt x="48578" y="0"/>
                        <a:pt x="108585" y="0"/>
                      </a:cubicBezTo>
                      <a:cubicBezTo>
                        <a:pt x="168593" y="0"/>
                        <a:pt x="217170" y="63818"/>
                        <a:pt x="217170" y="142875"/>
                      </a:cubicBezTo>
                      <a:close/>
                    </a:path>
                  </a:pathLst>
                </a:custGeom>
                <a:solidFill>
                  <a:srgbClr val="92C33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5" name="任意多边形 242">
                  <a:extLst>
                    <a:ext uri="{FF2B5EF4-FFF2-40B4-BE49-F238E27FC236}">
                      <a16:creationId xmlns:a16="http://schemas.microsoft.com/office/drawing/2014/main" id="{516B6B45-BC30-325E-96E3-A73F0D8DE9A6}"/>
                    </a:ext>
                  </a:extLst>
                </p:cNvPr>
                <p:cNvSpPr/>
                <p:nvPr/>
              </p:nvSpPr>
              <p:spPr>
                <a:xfrm>
                  <a:off x="3108959" y="2200275"/>
                  <a:ext cx="217169" cy="218122"/>
                </a:xfrm>
                <a:custGeom>
                  <a:avLst/>
                  <a:gdLst>
                    <a:gd name="connsiteX0" fmla="*/ 217170 w 217169"/>
                    <a:gd name="connsiteY0" fmla="*/ 120967 h 218122"/>
                    <a:gd name="connsiteX1" fmla="*/ 108585 w 217169"/>
                    <a:gd name="connsiteY1" fmla="*/ 218122 h 218122"/>
                    <a:gd name="connsiteX2" fmla="*/ 0 w 217169"/>
                    <a:gd name="connsiteY2" fmla="*/ 120967 h 218122"/>
                    <a:gd name="connsiteX3" fmla="*/ 108585 w 217169"/>
                    <a:gd name="connsiteY3" fmla="*/ 0 h 218122"/>
                    <a:gd name="connsiteX4" fmla="*/ 217170 w 217169"/>
                    <a:gd name="connsiteY4" fmla="*/ 120967 h 218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169" h="218122">
                      <a:moveTo>
                        <a:pt x="217170" y="120967"/>
                      </a:moveTo>
                      <a:cubicBezTo>
                        <a:pt x="217170" y="187642"/>
                        <a:pt x="168592" y="218122"/>
                        <a:pt x="108585" y="218122"/>
                      </a:cubicBezTo>
                      <a:cubicBezTo>
                        <a:pt x="48577" y="218122"/>
                        <a:pt x="0" y="187642"/>
                        <a:pt x="0" y="120967"/>
                      </a:cubicBezTo>
                      <a:cubicBezTo>
                        <a:pt x="0" y="54292"/>
                        <a:pt x="48577" y="0"/>
                        <a:pt x="108585" y="0"/>
                      </a:cubicBezTo>
                      <a:cubicBezTo>
                        <a:pt x="168592" y="0"/>
                        <a:pt x="217170" y="54292"/>
                        <a:pt x="217170" y="120967"/>
                      </a:cubicBezTo>
                      <a:close/>
                    </a:path>
                  </a:pathLst>
                </a:custGeom>
                <a:solidFill>
                  <a:srgbClr val="3BA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6" name="任意多边形 243">
                  <a:extLst>
                    <a:ext uri="{FF2B5EF4-FFF2-40B4-BE49-F238E27FC236}">
                      <a16:creationId xmlns:a16="http://schemas.microsoft.com/office/drawing/2014/main" id="{B11CA1F0-259E-C01B-F82B-C53C01ED3AC8}"/>
                    </a:ext>
                  </a:extLst>
                </p:cNvPr>
                <p:cNvSpPr/>
                <p:nvPr/>
              </p:nvSpPr>
              <p:spPr>
                <a:xfrm>
                  <a:off x="3016567" y="2297429"/>
                  <a:ext cx="142875" cy="144779"/>
                </a:xfrm>
                <a:custGeom>
                  <a:avLst/>
                  <a:gdLst>
                    <a:gd name="connsiteX0" fmla="*/ 142875 w 142875"/>
                    <a:gd name="connsiteY0" fmla="*/ 80010 h 144779"/>
                    <a:gd name="connsiteX1" fmla="*/ 71438 w 142875"/>
                    <a:gd name="connsiteY1" fmla="*/ 144780 h 144779"/>
                    <a:gd name="connsiteX2" fmla="*/ 0 w 142875"/>
                    <a:gd name="connsiteY2" fmla="*/ 80010 h 144779"/>
                    <a:gd name="connsiteX3" fmla="*/ 71438 w 142875"/>
                    <a:gd name="connsiteY3" fmla="*/ 0 h 144779"/>
                    <a:gd name="connsiteX4" fmla="*/ 142875 w 142875"/>
                    <a:gd name="connsiteY4" fmla="*/ 80010 h 144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875" h="144779">
                      <a:moveTo>
                        <a:pt x="142875" y="80010"/>
                      </a:moveTo>
                      <a:cubicBezTo>
                        <a:pt x="142875" y="123825"/>
                        <a:pt x="110490" y="144780"/>
                        <a:pt x="71438" y="144780"/>
                      </a:cubicBezTo>
                      <a:cubicBezTo>
                        <a:pt x="31432" y="144780"/>
                        <a:pt x="0" y="124778"/>
                        <a:pt x="0" y="80010"/>
                      </a:cubicBezTo>
                      <a:cubicBezTo>
                        <a:pt x="0" y="36195"/>
                        <a:pt x="32385" y="0"/>
                        <a:pt x="71438" y="0"/>
                      </a:cubicBezTo>
                      <a:cubicBezTo>
                        <a:pt x="110490" y="0"/>
                        <a:pt x="142875" y="36195"/>
                        <a:pt x="142875" y="80010"/>
                      </a:cubicBezTo>
                      <a:close/>
                    </a:path>
                  </a:pathLst>
                </a:custGeom>
                <a:solidFill>
                  <a:srgbClr val="0067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7" name="任意多边形 244">
                  <a:extLst>
                    <a:ext uri="{FF2B5EF4-FFF2-40B4-BE49-F238E27FC236}">
                      <a16:creationId xmlns:a16="http://schemas.microsoft.com/office/drawing/2014/main" id="{586CF587-9D97-4255-DA4C-B38AAB58227C}"/>
                    </a:ext>
                  </a:extLst>
                </p:cNvPr>
                <p:cNvSpPr/>
                <p:nvPr/>
              </p:nvSpPr>
              <p:spPr>
                <a:xfrm>
                  <a:off x="3274694" y="2323147"/>
                  <a:ext cx="167640" cy="167640"/>
                </a:xfrm>
                <a:custGeom>
                  <a:avLst/>
                  <a:gdLst>
                    <a:gd name="connsiteX0" fmla="*/ 167640 w 167640"/>
                    <a:gd name="connsiteY0" fmla="*/ 92393 h 167640"/>
                    <a:gd name="connsiteX1" fmla="*/ 83820 w 167640"/>
                    <a:gd name="connsiteY1" fmla="*/ 167640 h 167640"/>
                    <a:gd name="connsiteX2" fmla="*/ 0 w 167640"/>
                    <a:gd name="connsiteY2" fmla="*/ 92393 h 167640"/>
                    <a:gd name="connsiteX3" fmla="*/ 83820 w 167640"/>
                    <a:gd name="connsiteY3" fmla="*/ 0 h 167640"/>
                    <a:gd name="connsiteX4" fmla="*/ 167640 w 167640"/>
                    <a:gd name="connsiteY4" fmla="*/ 92393 h 1676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640" h="167640">
                      <a:moveTo>
                        <a:pt x="167640" y="92393"/>
                      </a:moveTo>
                      <a:cubicBezTo>
                        <a:pt x="167640" y="143828"/>
                        <a:pt x="130493" y="167640"/>
                        <a:pt x="83820" y="167640"/>
                      </a:cubicBezTo>
                      <a:cubicBezTo>
                        <a:pt x="38100" y="167640"/>
                        <a:pt x="0" y="143828"/>
                        <a:pt x="0" y="92393"/>
                      </a:cubicBezTo>
                      <a:cubicBezTo>
                        <a:pt x="0" y="40958"/>
                        <a:pt x="37148" y="0"/>
                        <a:pt x="83820" y="0"/>
                      </a:cubicBezTo>
                      <a:cubicBezTo>
                        <a:pt x="129540" y="0"/>
                        <a:pt x="167640" y="40958"/>
                        <a:pt x="167640" y="92393"/>
                      </a:cubicBezTo>
                      <a:close/>
                    </a:path>
                  </a:pathLst>
                </a:custGeom>
                <a:solidFill>
                  <a:srgbClr val="6EB13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7" name="任意多边形 245">
                <a:extLst>
                  <a:ext uri="{FF2B5EF4-FFF2-40B4-BE49-F238E27FC236}">
                    <a16:creationId xmlns:a16="http://schemas.microsoft.com/office/drawing/2014/main" id="{AB751308-8BC0-4377-BDE8-3F3FEBA2D368}"/>
                  </a:ext>
                </a:extLst>
              </p:cNvPr>
              <p:cNvSpPr/>
              <p:nvPr/>
            </p:nvSpPr>
            <p:spPr>
              <a:xfrm>
                <a:off x="2830829" y="2681287"/>
                <a:ext cx="247650" cy="92392"/>
              </a:xfrm>
              <a:custGeom>
                <a:avLst/>
                <a:gdLst>
                  <a:gd name="connsiteX0" fmla="*/ 65723 w 247650"/>
                  <a:gd name="connsiteY0" fmla="*/ 26670 h 92392"/>
                  <a:gd name="connsiteX1" fmla="*/ 86677 w 247650"/>
                  <a:gd name="connsiteY1" fmla="*/ 30480 h 92392"/>
                  <a:gd name="connsiteX2" fmla="*/ 155258 w 247650"/>
                  <a:gd name="connsiteY2" fmla="*/ 0 h 92392"/>
                  <a:gd name="connsiteX3" fmla="*/ 247650 w 247650"/>
                  <a:gd name="connsiteY3" fmla="*/ 92393 h 92392"/>
                  <a:gd name="connsiteX4" fmla="*/ 130493 w 247650"/>
                  <a:gd name="connsiteY4" fmla="*/ 92393 h 92392"/>
                  <a:gd name="connsiteX5" fmla="*/ 61913 w 247650"/>
                  <a:gd name="connsiteY5" fmla="*/ 92393 h 92392"/>
                  <a:gd name="connsiteX6" fmla="*/ 0 w 247650"/>
                  <a:gd name="connsiteY6" fmla="*/ 92393 h 92392"/>
                  <a:gd name="connsiteX7" fmla="*/ 65723 w 247650"/>
                  <a:gd name="connsiteY7" fmla="*/ 26670 h 92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7650" h="92392">
                    <a:moveTo>
                      <a:pt x="65723" y="26670"/>
                    </a:moveTo>
                    <a:cubicBezTo>
                      <a:pt x="73343" y="26670"/>
                      <a:pt x="80010" y="27622"/>
                      <a:pt x="86677" y="30480"/>
                    </a:cubicBezTo>
                    <a:cubicBezTo>
                      <a:pt x="103823" y="11430"/>
                      <a:pt x="127635" y="0"/>
                      <a:pt x="155258" y="0"/>
                    </a:cubicBezTo>
                    <a:cubicBezTo>
                      <a:pt x="206693" y="0"/>
                      <a:pt x="247650" y="40957"/>
                      <a:pt x="247650" y="92393"/>
                    </a:cubicBezTo>
                    <a:lnTo>
                      <a:pt x="130493" y="92393"/>
                    </a:lnTo>
                    <a:lnTo>
                      <a:pt x="61913" y="92393"/>
                    </a:lnTo>
                    <a:lnTo>
                      <a:pt x="0" y="92393"/>
                    </a:lnTo>
                    <a:cubicBezTo>
                      <a:pt x="0" y="56197"/>
                      <a:pt x="29528" y="26670"/>
                      <a:pt x="65723" y="26670"/>
                    </a:cubicBezTo>
                    <a:close/>
                  </a:path>
                </a:pathLst>
              </a:custGeom>
              <a:solidFill>
                <a:srgbClr val="92C3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pic>
        <p:nvPicPr>
          <p:cNvPr id="3" name="Picture 2" descr="Diagram, engineering drawing&#10;&#10;Description automatically generated">
            <a:extLst>
              <a:ext uri="{FF2B5EF4-FFF2-40B4-BE49-F238E27FC236}">
                <a16:creationId xmlns:a16="http://schemas.microsoft.com/office/drawing/2014/main" id="{22BAF0D3-8431-F8A9-5DB5-6FC4D44463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9759" y="1416440"/>
            <a:ext cx="9541447" cy="3377929"/>
          </a:xfrm>
          <a:prstGeom prst="rect">
            <a:avLst/>
          </a:prstGeom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id="{D85FD897-6C25-DCD1-4D64-240EF9BBAB7D}"/>
              </a:ext>
            </a:extLst>
          </p:cNvPr>
          <p:cNvSpPr txBox="1"/>
          <p:nvPr/>
        </p:nvSpPr>
        <p:spPr>
          <a:xfrm>
            <a:off x="317609" y="6256336"/>
            <a:ext cx="54729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/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Dong, Chao, et al. “Image Super-Resolution Using Deep Convolutional Networks.” </a:t>
            </a:r>
            <a:r>
              <a:rPr lang="en-US" sz="10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ArXiv.org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31 July 2015, https://arxiv.org/abs/1501.00092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741954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05317"/>
  <p:tag name="KSO_WPP_MARK_KEY" val="c4a215b7-b6b2-4c35-8a52-7425c41f4add"/>
  <p:tag name="COMMONDATA" val="eyJoZGlkIjoiMmI1ZjZjYWNmZDk4MTlmNDlkOGQyNjUyZjU5YzEwYmYifQ=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580899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580899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580899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580899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580899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580899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580899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580899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580899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580899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580899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580899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580899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580899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580899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580899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580899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580899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580899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580899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698A4"/>
      </a:accent1>
      <a:accent2>
        <a:srgbClr val="459D67"/>
      </a:accent2>
      <a:accent3>
        <a:srgbClr val="A4CB61"/>
      </a:accent3>
      <a:accent4>
        <a:srgbClr val="7F7F7F"/>
      </a:accent4>
      <a:accent5>
        <a:srgbClr val="666666"/>
      </a:accent5>
      <a:accent6>
        <a:srgbClr val="515151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698A4"/>
    </a:accent1>
    <a:accent2>
      <a:srgbClr val="459D67"/>
    </a:accent2>
    <a:accent3>
      <a:srgbClr val="A4CB61"/>
    </a:accent3>
    <a:accent4>
      <a:srgbClr val="7F7F7F"/>
    </a:accent4>
    <a:accent5>
      <a:srgbClr val="666666"/>
    </a:accent5>
    <a:accent6>
      <a:srgbClr val="515151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698A4"/>
    </a:accent1>
    <a:accent2>
      <a:srgbClr val="459D67"/>
    </a:accent2>
    <a:accent3>
      <a:srgbClr val="A4CB61"/>
    </a:accent3>
    <a:accent4>
      <a:srgbClr val="7F7F7F"/>
    </a:accent4>
    <a:accent5>
      <a:srgbClr val="666666"/>
    </a:accent5>
    <a:accent6>
      <a:srgbClr val="515151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698A4"/>
    </a:accent1>
    <a:accent2>
      <a:srgbClr val="459D67"/>
    </a:accent2>
    <a:accent3>
      <a:srgbClr val="A4CB61"/>
    </a:accent3>
    <a:accent4>
      <a:srgbClr val="7F7F7F"/>
    </a:accent4>
    <a:accent5>
      <a:srgbClr val="666666"/>
    </a:accent5>
    <a:accent6>
      <a:srgbClr val="515151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68</TotalTime>
  <Words>872</Words>
  <Application>Microsoft Office PowerPoint</Application>
  <PresentationFormat>Widescreen</PresentationFormat>
  <Paragraphs>174</Paragraphs>
  <Slides>3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8" baseType="lpstr">
      <vt:lpstr>等线</vt:lpstr>
      <vt:lpstr>Arial</vt:lpstr>
      <vt:lpstr>Calibri</vt:lpstr>
      <vt:lpstr>Impact</vt:lpstr>
      <vt:lpstr>Times New Roman</vt:lpstr>
      <vt:lpstr>Wingdings</vt:lpstr>
      <vt:lpstr>主题5</vt:lpstr>
      <vt:lpstr>think-cell Slide</vt:lpstr>
      <vt:lpstr>Image Super Resolution</vt:lpstr>
      <vt:lpstr>PowerPoint Presentation</vt:lpstr>
      <vt:lpstr>Introduction</vt:lpstr>
      <vt:lpstr>Introduction</vt:lpstr>
      <vt:lpstr>Example Image (Data)</vt:lpstr>
      <vt:lpstr>Traditional Method</vt:lpstr>
      <vt:lpstr>Traditional Methods</vt:lpstr>
      <vt:lpstr>CNN Model</vt:lpstr>
      <vt:lpstr>SRCNN</vt:lpstr>
      <vt:lpstr>1st part: Extraction Representation</vt:lpstr>
      <vt:lpstr>2nd part: Non-Linear Mapping</vt:lpstr>
      <vt:lpstr>3rd part: Reconstruction</vt:lpstr>
      <vt:lpstr>SRCNN Model Info</vt:lpstr>
      <vt:lpstr>SRCNN Results</vt:lpstr>
      <vt:lpstr>SRCNN Results</vt:lpstr>
      <vt:lpstr>Autoencoder</vt:lpstr>
      <vt:lpstr>What is Autoencoder？</vt:lpstr>
      <vt:lpstr>Image Denoising Autoencoder</vt:lpstr>
      <vt:lpstr>Enhance Image Resolution using Autoencoder </vt:lpstr>
      <vt:lpstr>Result of autoencoder</vt:lpstr>
      <vt:lpstr>Result of autoencoder</vt:lpstr>
      <vt:lpstr>Result of autoencoder</vt:lpstr>
      <vt:lpstr>GAN</vt:lpstr>
      <vt:lpstr>How GAN works in image super resolution</vt:lpstr>
      <vt:lpstr>SRGAN(Super Resolution Generative Adversarial Network)</vt:lpstr>
      <vt:lpstr>Our SRGAN</vt:lpstr>
      <vt:lpstr>SRGAN Result</vt:lpstr>
      <vt:lpstr>Summary</vt:lpstr>
      <vt:lpstr>PowerPoint Presentation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Rickyrailgun Li</cp:lastModifiedBy>
  <cp:revision>19</cp:revision>
  <cp:lastPrinted>2018-06-28T16:00:00Z</cp:lastPrinted>
  <dcterms:created xsi:type="dcterms:W3CDTF">2018-06-28T16:00:00Z</dcterms:created>
  <dcterms:modified xsi:type="dcterms:W3CDTF">2022-12-12T22:48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B57715DF495D49959CC6B8695C4FCE32</vt:lpwstr>
  </property>
  <property fmtid="{D5CDD505-2E9C-101B-9397-08002B2CF9AE}" pid="4" name="KSOProductBuildVer">
    <vt:lpwstr>2052-11.1.0.12980</vt:lpwstr>
  </property>
</Properties>
</file>